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60" r:id="rId2"/>
    <p:sldId id="597" r:id="rId3"/>
    <p:sldId id="336" r:id="rId4"/>
    <p:sldId id="748" r:id="rId5"/>
    <p:sldId id="607" r:id="rId6"/>
    <p:sldId id="591" r:id="rId7"/>
    <p:sldId id="272" r:id="rId8"/>
  </p:sldIdLst>
  <p:sldSz cx="12204700" cy="6859588"/>
  <p:notesSz cx="7104063" cy="10234613"/>
  <p:custDataLst>
    <p:tags r:id="rId11"/>
  </p:custDataLst>
  <p:defaultTextStyle>
    <a:defPPr>
      <a:defRPr lang="de-DE"/>
    </a:defPPr>
    <a:lvl1pPr marL="0" algn="l" defTabSz="122008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10042" algn="l" defTabSz="122008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20084" algn="l" defTabSz="122008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30126" algn="l" defTabSz="122008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40168" algn="l" defTabSz="122008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50210" algn="l" defTabSz="122008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60252" algn="l" defTabSz="122008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70294" algn="l" defTabSz="122008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80336" algn="l" defTabSz="122008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5">
          <p15:clr>
            <a:srgbClr val="A4A3A4"/>
          </p15:clr>
        </p15:guide>
        <p15:guide id="2" orient="horz" pos="3680" userDrawn="1">
          <p15:clr>
            <a:srgbClr val="A4A3A4"/>
          </p15:clr>
        </p15:guide>
        <p15:guide id="3" orient="horz" pos="1071">
          <p15:clr>
            <a:srgbClr val="A4A3A4"/>
          </p15:clr>
        </p15:guide>
        <p15:guide id="4" pos="238" userDrawn="1">
          <p15:clr>
            <a:srgbClr val="A4A3A4"/>
          </p15:clr>
        </p15:guide>
        <p15:guide id="5" pos="7450" userDrawn="1">
          <p15:clr>
            <a:srgbClr val="A4A3A4"/>
          </p15:clr>
        </p15:guide>
        <p15:guide id="6" pos="4570">
          <p15:clr>
            <a:srgbClr val="A4A3A4"/>
          </p15:clr>
        </p15:guide>
        <p15:guide id="7" pos="4774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orient="horz" pos="800" userDrawn="1">
          <p15:clr>
            <a:srgbClr val="A4A3A4"/>
          </p15:clr>
        </p15:guide>
        <p15:guide id="10" orient="horz" pos="35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82" userDrawn="1">
          <p15:clr>
            <a:srgbClr val="A4A3A4"/>
          </p15:clr>
        </p15:guide>
        <p15:guide id="2" orient="horz" pos="3046" userDrawn="1">
          <p15:clr>
            <a:srgbClr val="A4A3A4"/>
          </p15:clr>
        </p15:guide>
        <p15:guide id="3" orient="horz" pos="5990" userDrawn="1">
          <p15:clr>
            <a:srgbClr val="A4A3A4"/>
          </p15:clr>
        </p15:guide>
        <p15:guide id="4" pos="4235" userDrawn="1">
          <p15:clr>
            <a:srgbClr val="A4A3A4"/>
          </p15:clr>
        </p15:guide>
        <p15:guide id="5" pos="26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5100"/>
    <a:srgbClr val="FF6600"/>
    <a:srgbClr val="663300"/>
    <a:srgbClr val="FFCC00"/>
    <a:srgbClr val="FFCC66"/>
    <a:srgbClr val="800000"/>
    <a:srgbClr val="006600"/>
    <a:srgbClr val="376EB4"/>
    <a:srgbClr val="FF0000"/>
    <a:srgbClr val="4C14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01" autoAdjust="0"/>
    <p:restoredTop sz="94707" autoAdjust="0"/>
  </p:normalViewPr>
  <p:slideViewPr>
    <p:cSldViewPr snapToGrid="0" showGuides="1">
      <p:cViewPr varScale="1">
        <p:scale>
          <a:sx n="82" d="100"/>
          <a:sy n="82" d="100"/>
        </p:scale>
        <p:origin x="662" y="72"/>
      </p:cViewPr>
      <p:guideLst>
        <p:guide orient="horz" pos="255"/>
        <p:guide orient="horz" pos="3680"/>
        <p:guide orient="horz" pos="1071"/>
        <p:guide pos="238"/>
        <p:guide pos="7450"/>
        <p:guide pos="4570"/>
        <p:guide pos="4774"/>
        <p:guide orient="horz" pos="2160"/>
        <p:guide orient="horz" pos="800"/>
        <p:guide orient="horz" pos="352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508"/>
    </p:cViewPr>
  </p:sorterViewPr>
  <p:notesViewPr>
    <p:cSldViewPr snapToGrid="0" showGuides="1">
      <p:cViewPr varScale="1">
        <p:scale>
          <a:sx n="83" d="100"/>
          <a:sy n="83" d="100"/>
        </p:scale>
        <p:origin x="-3828" y="-78"/>
      </p:cViewPr>
      <p:guideLst>
        <p:guide orient="horz" pos="482"/>
        <p:guide orient="horz" pos="3046"/>
        <p:guide orient="horz" pos="5990"/>
        <p:guide pos="4235"/>
        <p:guide pos="26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41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73997515-FFDC-431A-BB11-987AE98C01F2}" type="datetimeFigureOut">
              <a:rPr lang="en-GB" smtClean="0"/>
              <a:t>02/04/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8C34BB85-8B04-4F66-A0A8-593D00130C29}" type="slidenum">
              <a:rPr lang="en-GB" smtClean="0"/>
              <a:t>‹Nr.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77263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 eaLnBrk="1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F4DDD828-42BE-463B-B0E2-A40893CF86B5}" type="datetimeFigureOut">
              <a:rPr lang="de-DE" smtClean="0"/>
              <a:t>02.04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2466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9338" y="4834789"/>
            <a:ext cx="6303211" cy="46748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noProof="0" dirty="0" err="1"/>
              <a:t>Please</a:t>
            </a:r>
            <a:r>
              <a:rPr lang="de-DE" noProof="0" dirty="0"/>
              <a:t>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</a:t>
            </a:r>
            <a:r>
              <a:rPr lang="de-DE" noProof="0" dirty="0" err="1"/>
              <a:t>master</a:t>
            </a:r>
            <a:r>
              <a:rPr lang="de-DE" noProof="0" dirty="0"/>
              <a:t> </a:t>
            </a:r>
            <a:r>
              <a:rPr lang="de-DE" noProof="0" dirty="0" err="1"/>
              <a:t>forma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s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 eaLnBrk="1">
              <a:defRPr sz="13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B2792B22-0A4D-40E2-BA2B-1A26559F0B8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2155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2563" indent="-182563" algn="l" defTabSz="1220084" rtl="0" eaLnBrk="1" latinLnBrk="0" hangingPunct="1">
      <a:spcBef>
        <a:spcPts val="600"/>
      </a:spcBef>
      <a:buFont typeface="Arial" panose="020B0604020202020204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54013" indent="-171450" algn="l" defTabSz="1220084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6575" indent="-182563" algn="l" defTabSz="1220084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20725" indent="-184150" algn="l" defTabSz="1220084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2175" indent="-171450" algn="l" defTabSz="1220084" rtl="0" eaLnBrk="1" latinLnBrk="0" hangingPunct="1">
      <a:spcBef>
        <a:spcPts val="600"/>
      </a:spcBef>
      <a:buClr>
        <a:schemeClr val="tx1"/>
      </a:buClr>
      <a:buFont typeface="Arial" panose="020B0604020202020204" pitchFamily="34" charset="0"/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3050210" algn="l" defTabSz="122008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60252" algn="l" defTabSz="122008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70294" algn="l" defTabSz="122008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80336" algn="l" defTabSz="122008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3898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Folienbildplatzhalter 1">
            <a:extLst>
              <a:ext uri="{FF2B5EF4-FFF2-40B4-BE49-F238E27FC236}">
                <a16:creationId xmlns:a16="http://schemas.microsoft.com/office/drawing/2014/main" id="{545B00AC-1991-4E17-BE7D-39181F88132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izenplatzhalter 2">
            <a:extLst>
              <a:ext uri="{FF2B5EF4-FFF2-40B4-BE49-F238E27FC236}">
                <a16:creationId xmlns:a16="http://schemas.microsoft.com/office/drawing/2014/main" id="{A254412B-ED64-4DED-B885-9FF5412905C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altLang="de-DE"/>
              <a:t>Was ist nicht in den letzten Jahren vielfältigst über das Thema Wasserhygiene diskutiert worden, von allen Seiten, Planer, Installateur, Industrie, Behörden, En</a:t>
            </a:r>
          </a:p>
          <a:p>
            <a:r>
              <a:rPr lang="de-DE" altLang="de-DE"/>
              <a:t>dkunden, Mystiker, Wunderheiler, Scharlatane jeder musste etwas dazu beitragen. Es zeigt aber auch einfach die emotionale Bedeutung des Wassers für uns Menschen. </a:t>
            </a:r>
            <a:endParaRPr lang="de-AT" altLang="de-DE"/>
          </a:p>
          <a:p>
            <a:r>
              <a:rPr lang="de-DE" altLang="de-DE"/>
              <a:t>Und nicht erst seit Einführung der B 5019 oder anderer Reglements ist uns bewusst, dass es um unser Lebenselexier geht, um das Wasser !</a:t>
            </a:r>
          </a:p>
          <a:p>
            <a:endParaRPr lang="de-DE" altLang="de-DE"/>
          </a:p>
          <a:p>
            <a:r>
              <a:rPr lang="de-DE" altLang="de-DE"/>
              <a:t>Thales von Milet hat es sehr treffend zusammengefasst. Und wers ein bissl weniger philosophisch will, der solls halt eher pragmatisch sehen !</a:t>
            </a:r>
          </a:p>
          <a:p>
            <a:endParaRPr lang="de-AT" altLang="de-DE"/>
          </a:p>
          <a:p>
            <a:endParaRPr lang="de-AT" altLang="de-DE"/>
          </a:p>
        </p:txBody>
      </p:sp>
      <p:sp>
        <p:nvSpPr>
          <p:cNvPr id="24580" name="Foliennummernplatzhalter 3">
            <a:extLst>
              <a:ext uri="{FF2B5EF4-FFF2-40B4-BE49-F238E27FC236}">
                <a16:creationId xmlns:a16="http://schemas.microsoft.com/office/drawing/2014/main" id="{AEF37807-5920-4595-A54A-B22473E06B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363" indent="-2841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4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86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58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30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02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74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46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6701134-7345-49B9-B5A4-FF1B1FE79B51}" type="slidenum">
              <a:rPr lang="de-CH" altLang="de-DE" smtClean="0"/>
              <a:pPr>
                <a:spcBef>
                  <a:spcPct val="0"/>
                </a:spcBef>
              </a:pPr>
              <a:t>2</a:t>
            </a:fld>
            <a:endParaRPr lang="de-CH" alt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Folienbildplatzhalter 1">
            <a:extLst>
              <a:ext uri="{FF2B5EF4-FFF2-40B4-BE49-F238E27FC236}">
                <a16:creationId xmlns:a16="http://schemas.microsoft.com/office/drawing/2014/main" id="{EA73D422-F5B9-4FBF-917A-900181AB225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izenplatzhalter 2">
            <a:extLst>
              <a:ext uri="{FF2B5EF4-FFF2-40B4-BE49-F238E27FC236}">
                <a16:creationId xmlns:a16="http://schemas.microsoft.com/office/drawing/2014/main" id="{1DEAAA86-264A-435E-BE6A-64F85EBE48C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AT" altLang="de-DE"/>
          </a:p>
        </p:txBody>
      </p:sp>
      <p:sp>
        <p:nvSpPr>
          <p:cNvPr id="26628" name="Foliennummernplatzhalter 3">
            <a:extLst>
              <a:ext uri="{FF2B5EF4-FFF2-40B4-BE49-F238E27FC236}">
                <a16:creationId xmlns:a16="http://schemas.microsoft.com/office/drawing/2014/main" id="{8421800D-F76A-4D09-8B27-5CE459F3CB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363" indent="-2841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4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86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58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30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02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74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46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C3231B78-047F-48EB-83EA-20274F6FA0C5}" type="slidenum">
              <a:rPr lang="de-CH" altLang="de-DE" smtClean="0"/>
              <a:pPr>
                <a:spcBef>
                  <a:spcPct val="0"/>
                </a:spcBef>
              </a:pPr>
              <a:t>3</a:t>
            </a:fld>
            <a:endParaRPr lang="de-CH" alt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>
            <a:extLst>
              <a:ext uri="{FF2B5EF4-FFF2-40B4-BE49-F238E27FC236}">
                <a16:creationId xmlns:a16="http://schemas.microsoft.com/office/drawing/2014/main" id="{13B8331A-CE44-4596-9CE6-19F6FB42832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423863" y="595313"/>
            <a:ext cx="7708901" cy="4333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Rectangle 3">
            <a:extLst>
              <a:ext uri="{FF2B5EF4-FFF2-40B4-BE49-F238E27FC236}">
                <a16:creationId xmlns:a16="http://schemas.microsoft.com/office/drawing/2014/main" id="{76970A4C-6281-4ABE-8A5D-05BB48DDE0D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503238" y="5170488"/>
            <a:ext cx="5856287" cy="40052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CH" alt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>
            <a:extLst>
              <a:ext uri="{FF2B5EF4-FFF2-40B4-BE49-F238E27FC236}">
                <a16:creationId xmlns:a16="http://schemas.microsoft.com/office/drawing/2014/main" id="{0A840B71-D73B-454D-AFE5-BF32060A1C8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423863" y="595313"/>
            <a:ext cx="7708901" cy="4333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Rectangle 3">
            <a:extLst>
              <a:ext uri="{FF2B5EF4-FFF2-40B4-BE49-F238E27FC236}">
                <a16:creationId xmlns:a16="http://schemas.microsoft.com/office/drawing/2014/main" id="{4B7A9DA6-74F5-4F4D-8340-3CD5990A619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503238" y="5170488"/>
            <a:ext cx="5856287" cy="40052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CH" alt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792B22-0A4D-40E2-BA2B-1A26559F0B88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2167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.jpg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lau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0236120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invGray">
          <a:xfrm>
            <a:off x="4779034" y="2662149"/>
            <a:ext cx="7035800" cy="104644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invGray">
          <a:xfrm>
            <a:off x="4779034" y="3786099"/>
            <a:ext cx="7035800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610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0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0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0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0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0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invGray">
          <a:xfrm>
            <a:off x="9963152" y="462594"/>
            <a:ext cx="1731398" cy="238223"/>
            <a:chOff x="5491163" y="3270250"/>
            <a:chExt cx="2859088" cy="393700"/>
          </a:xfrm>
          <a:solidFill>
            <a:schemeClr val="bg1"/>
          </a:solidFill>
        </p:grpSpPr>
        <p:sp>
          <p:nvSpPr>
            <p:cNvPr id="15" name="Freeform 12"/>
            <p:cNvSpPr>
              <a:spLocks/>
            </p:cNvSpPr>
            <p:nvPr userDrawn="1"/>
          </p:nvSpPr>
          <p:spPr bwMode="inv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inv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inv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inv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inv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20" name="Rectangle 17"/>
            <p:cNvSpPr>
              <a:spLocks noChangeArrowheads="1"/>
            </p:cNvSpPr>
            <p:nvPr userDrawn="1"/>
          </p:nvSpPr>
          <p:spPr bwMode="invGray">
            <a:xfrm>
              <a:off x="7904163" y="3276600"/>
              <a:ext cx="1031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inv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22" name="Rectangle 19"/>
            <p:cNvSpPr>
              <a:spLocks noChangeArrowheads="1"/>
            </p:cNvSpPr>
            <p:nvPr userDrawn="1"/>
          </p:nvSpPr>
          <p:spPr bwMode="invGray">
            <a:xfrm>
              <a:off x="5491163" y="3276600"/>
              <a:ext cx="3825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</p:grpSp>
      <p:sp>
        <p:nvSpPr>
          <p:cNvPr id="24" name="Freeform 9"/>
          <p:cNvSpPr>
            <a:spLocks/>
          </p:cNvSpPr>
          <p:nvPr userDrawn="1"/>
        </p:nvSpPr>
        <p:spPr bwMode="invGray">
          <a:xfrm>
            <a:off x="4238" y="2374271"/>
            <a:ext cx="4289212" cy="4485317"/>
          </a:xfrm>
          <a:custGeom>
            <a:avLst/>
            <a:gdLst/>
            <a:ahLst/>
            <a:cxnLst/>
            <a:rect l="l" t="t" r="r" b="b"/>
            <a:pathLst>
              <a:path w="4252778" h="4447217">
                <a:moveTo>
                  <a:pt x="1946358" y="2374551"/>
                </a:moveTo>
                <a:cubicBezTo>
                  <a:pt x="4252778" y="2374551"/>
                  <a:pt x="4252778" y="2374551"/>
                  <a:pt x="4252778" y="2374551"/>
                </a:cubicBezTo>
                <a:cubicBezTo>
                  <a:pt x="4252778" y="3343655"/>
                  <a:pt x="4252778" y="4001144"/>
                  <a:pt x="4252778" y="4447217"/>
                </a:cubicBezTo>
                <a:lnTo>
                  <a:pt x="2822798" y="4447217"/>
                </a:lnTo>
                <a:cubicBezTo>
                  <a:pt x="2822798" y="3379169"/>
                  <a:pt x="2822798" y="3379169"/>
                  <a:pt x="2822798" y="3379169"/>
                </a:cubicBezTo>
                <a:cubicBezTo>
                  <a:pt x="1946358" y="3379169"/>
                  <a:pt x="1946358" y="3379169"/>
                  <a:pt x="1946358" y="3379169"/>
                </a:cubicBezTo>
                <a:cubicBezTo>
                  <a:pt x="1946358" y="2374551"/>
                  <a:pt x="1946358" y="2374551"/>
                  <a:pt x="1946358" y="2374551"/>
                </a:cubicBezTo>
                <a:close/>
                <a:moveTo>
                  <a:pt x="2407642" y="0"/>
                </a:moveTo>
                <a:cubicBezTo>
                  <a:pt x="2776669" y="0"/>
                  <a:pt x="3560852" y="45665"/>
                  <a:pt x="4114393" y="228322"/>
                </a:cubicBezTo>
                <a:cubicBezTo>
                  <a:pt x="4114393" y="1461262"/>
                  <a:pt x="4114393" y="1461262"/>
                  <a:pt x="4114393" y="1461262"/>
                </a:cubicBezTo>
                <a:cubicBezTo>
                  <a:pt x="3653109" y="1187276"/>
                  <a:pt x="2961183" y="1095947"/>
                  <a:pt x="2638284" y="1095947"/>
                </a:cubicBezTo>
                <a:cubicBezTo>
                  <a:pt x="1438946" y="1095947"/>
                  <a:pt x="424121" y="1598256"/>
                  <a:pt x="424121" y="2876860"/>
                </a:cubicBezTo>
                <a:cubicBezTo>
                  <a:pt x="424121" y="3624389"/>
                  <a:pt x="844736" y="4186858"/>
                  <a:pt x="1470511" y="4447217"/>
                </a:cubicBezTo>
                <a:lnTo>
                  <a:pt x="0" y="4447217"/>
                </a:lnTo>
                <a:lnTo>
                  <a:pt x="0" y="612021"/>
                </a:lnTo>
                <a:cubicBezTo>
                  <a:pt x="603422" y="188006"/>
                  <a:pt x="1436951" y="0"/>
                  <a:pt x="24076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noProof="0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4779034" y="5570432"/>
            <a:ext cx="7035800" cy="507831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</a:t>
            </a:r>
          </a:p>
          <a:p>
            <a:pPr lvl="0"/>
            <a:r>
              <a:rPr lang="de-DE" noProof="0" dirty="0"/>
              <a:t>Datu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017276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826" y="315913"/>
            <a:ext cx="1144905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78485" y="1700253"/>
            <a:ext cx="11447952" cy="153888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de-DE"/>
              <a:t>Wasser &amp; Technik 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6908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sliste AB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166" y="315913"/>
            <a:ext cx="11519105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77826" y="1700253"/>
            <a:ext cx="11518000" cy="1538883"/>
          </a:xfrm>
        </p:spPr>
        <p:txBody>
          <a:bodyPr/>
          <a:lstStyle>
            <a:lvl1pPr marL="266700" indent="-266700">
              <a:buFont typeface="+mj-lt"/>
              <a:buAutoNum type="arabicPeriod"/>
              <a:tabLst/>
              <a:defRPr/>
            </a:lvl1pPr>
            <a:lvl2pPr marL="534988" indent="-266700">
              <a:buFont typeface="+mj-lt"/>
              <a:buAutoNum type="alphaUcPeriod"/>
              <a:defRPr/>
            </a:lvl2pPr>
            <a:lvl3pPr marL="801688" indent="-269875">
              <a:buFont typeface="+mj-lt"/>
              <a:buAutoNum type="alphaLcPeriod"/>
              <a:defRPr/>
            </a:lvl3pPr>
            <a:lvl4pPr marL="1077913" indent="-269875">
              <a:buFont typeface="+mj-lt"/>
              <a:buAutoNum type="romanLcPeriod"/>
              <a:tabLst/>
              <a:defRPr/>
            </a:lvl4pPr>
            <a:lvl5pPr marL="1346200" indent="-269875">
              <a:buFont typeface="+mj-lt"/>
              <a:buAutoNum type="romanL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de-DE"/>
              <a:t>Wasser &amp; Technik 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5506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825" y="315913"/>
            <a:ext cx="687705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asser &amp; Technik 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8"/>
          </p:nvPr>
        </p:nvSpPr>
        <p:spPr>
          <a:xfrm>
            <a:off x="377825" y="1700253"/>
            <a:ext cx="6877050" cy="153888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9"/>
          </p:nvPr>
        </p:nvSpPr>
        <p:spPr>
          <a:xfrm>
            <a:off x="7578725" y="404813"/>
            <a:ext cx="4241800" cy="542607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29391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mit Bild Hälf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8712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825" y="1728788"/>
            <a:ext cx="6877050" cy="369332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7578725" y="404813"/>
            <a:ext cx="4241800" cy="542607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378484" y="3419475"/>
            <a:ext cx="6876391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Wasser &amp; Technik </a:t>
            </a:r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69966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8087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825" y="2154238"/>
            <a:ext cx="11442700" cy="369332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3516" y="3847385"/>
            <a:ext cx="11437009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asser &amp; Technik </a:t>
            </a:r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329325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7241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gray">
          <a:xfrm>
            <a:off x="0" y="-1"/>
            <a:ext cx="12204700" cy="6105526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77826" y="315913"/>
            <a:ext cx="1144905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77825" y="1700253"/>
            <a:ext cx="4289425" cy="1538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383516" y="6097546"/>
            <a:ext cx="1150009" cy="762042"/>
          </a:xfrm>
          <a:custGeom>
            <a:avLst/>
            <a:gdLst/>
            <a:ahLst/>
            <a:cxnLst/>
            <a:rect l="l" t="t" r="r" b="b"/>
            <a:pathLst>
              <a:path w="1130300" h="748982">
                <a:moveTo>
                  <a:pt x="638865" y="343567"/>
                </a:moveTo>
                <a:cubicBezTo>
                  <a:pt x="1130300" y="343567"/>
                  <a:pt x="1130300" y="343567"/>
                  <a:pt x="1130300" y="343567"/>
                </a:cubicBezTo>
                <a:cubicBezTo>
                  <a:pt x="1130300" y="525269"/>
                  <a:pt x="1130300" y="655558"/>
                  <a:pt x="1130300" y="748982"/>
                </a:cubicBezTo>
                <a:lnTo>
                  <a:pt x="825610" y="748982"/>
                </a:lnTo>
                <a:cubicBezTo>
                  <a:pt x="825610" y="557623"/>
                  <a:pt x="825610" y="557623"/>
                  <a:pt x="825610" y="557623"/>
                </a:cubicBezTo>
                <a:cubicBezTo>
                  <a:pt x="638865" y="557623"/>
                  <a:pt x="638865" y="557623"/>
                  <a:pt x="638865" y="557623"/>
                </a:cubicBezTo>
                <a:cubicBezTo>
                  <a:pt x="638865" y="343567"/>
                  <a:pt x="638865" y="343567"/>
                  <a:pt x="638865" y="343567"/>
                </a:cubicBezTo>
                <a:close/>
                <a:moveTo>
                  <a:pt x="185632" y="0"/>
                </a:moveTo>
                <a:lnTo>
                  <a:pt x="1100814" y="0"/>
                </a:lnTo>
                <a:cubicBezTo>
                  <a:pt x="1100814" y="148970"/>
                  <a:pt x="1100814" y="148970"/>
                  <a:pt x="1100814" y="148970"/>
                </a:cubicBezTo>
                <a:cubicBezTo>
                  <a:pt x="1002527" y="90591"/>
                  <a:pt x="855097" y="71131"/>
                  <a:pt x="786296" y="71131"/>
                </a:cubicBezTo>
                <a:cubicBezTo>
                  <a:pt x="530750" y="71131"/>
                  <a:pt x="314518" y="178160"/>
                  <a:pt x="314518" y="450595"/>
                </a:cubicBezTo>
                <a:cubicBezTo>
                  <a:pt x="314518" y="581842"/>
                  <a:pt x="375371" y="686316"/>
                  <a:pt x="472164" y="748982"/>
                </a:cubicBezTo>
                <a:lnTo>
                  <a:pt x="75753" y="748982"/>
                </a:lnTo>
                <a:cubicBezTo>
                  <a:pt x="27454" y="669898"/>
                  <a:pt x="0" y="570898"/>
                  <a:pt x="0" y="450595"/>
                </a:cubicBezTo>
                <a:cubicBezTo>
                  <a:pt x="0" y="244607"/>
                  <a:pt x="67438" y="96765"/>
                  <a:pt x="18563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Wasser &amp; Technik </a:t>
            </a:r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742290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und Bild vollflächig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6742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/>
          <p:cNvSpPr/>
          <p:nvPr userDrawn="1"/>
        </p:nvSpPr>
        <p:spPr bwMode="gray">
          <a:xfrm>
            <a:off x="0" y="6105165"/>
            <a:ext cx="12204700" cy="756000"/>
          </a:xfrm>
          <a:prstGeom prst="rect">
            <a:avLst/>
          </a:prstGeom>
          <a:solidFill>
            <a:schemeClr val="accent3">
              <a:lumMod val="9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08" tIns="61004" rIns="122008" bIns="61004" spcCol="0" rtlCol="0" anchor="ctr"/>
          <a:lstStyle/>
          <a:p>
            <a:pPr lvl="0" algn="ctr" eaLnBrk="1"/>
            <a:endParaRPr lang="de-DE" dirty="0"/>
          </a:p>
        </p:txBody>
      </p:sp>
      <p:grpSp>
        <p:nvGrpSpPr>
          <p:cNvPr id="26" name="Gruppieren 25"/>
          <p:cNvGrpSpPr/>
          <p:nvPr userDrawn="1"/>
        </p:nvGrpSpPr>
        <p:grpSpPr bwMode="gray">
          <a:xfrm>
            <a:off x="10647329" y="6420785"/>
            <a:ext cx="1173855" cy="161511"/>
            <a:chOff x="5491163" y="3270250"/>
            <a:chExt cx="2859088" cy="393700"/>
          </a:xfrm>
        </p:grpSpPr>
        <p:sp>
          <p:nvSpPr>
            <p:cNvPr id="27" name="Freeform 12"/>
            <p:cNvSpPr>
              <a:spLocks/>
            </p:cNvSpPr>
            <p:nvPr userDrawn="1"/>
          </p:nvSpPr>
          <p:spPr bwMode="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13"/>
            <p:cNvSpPr>
              <a:spLocks/>
            </p:cNvSpPr>
            <p:nvPr userDrawn="1"/>
          </p:nvSpPr>
          <p:spPr bwMode="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Freeform 15"/>
            <p:cNvSpPr>
              <a:spLocks/>
            </p:cNvSpPr>
            <p:nvPr userDrawn="1"/>
          </p:nvSpPr>
          <p:spPr bwMode="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16"/>
            <p:cNvSpPr>
              <a:spLocks noEditPoints="1"/>
            </p:cNvSpPr>
            <p:nvPr userDrawn="1"/>
          </p:nvSpPr>
          <p:spPr bwMode="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Rectangle 17"/>
            <p:cNvSpPr>
              <a:spLocks noChangeArrowheads="1"/>
            </p:cNvSpPr>
            <p:nvPr userDrawn="1"/>
          </p:nvSpPr>
          <p:spPr bwMode="gray">
            <a:xfrm>
              <a:off x="7904163" y="3276600"/>
              <a:ext cx="103188" cy="382588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3" name="Freeform 18"/>
            <p:cNvSpPr>
              <a:spLocks/>
            </p:cNvSpPr>
            <p:nvPr userDrawn="1"/>
          </p:nvSpPr>
          <p:spPr bwMode="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4" name="Rectangle 19"/>
            <p:cNvSpPr>
              <a:spLocks noChangeArrowheads="1"/>
            </p:cNvSpPr>
            <p:nvPr userDrawn="1"/>
          </p:nvSpPr>
          <p:spPr bwMode="gray">
            <a:xfrm>
              <a:off x="5491163" y="3276600"/>
              <a:ext cx="382588" cy="382588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35" name="Freeform 9"/>
          <p:cNvSpPr>
            <a:spLocks/>
          </p:cNvSpPr>
          <p:nvPr userDrawn="1"/>
        </p:nvSpPr>
        <p:spPr bwMode="gray">
          <a:xfrm>
            <a:off x="383516" y="6105525"/>
            <a:ext cx="1150009" cy="754540"/>
          </a:xfrm>
          <a:custGeom>
            <a:avLst/>
            <a:gdLst/>
            <a:ahLst/>
            <a:cxnLst/>
            <a:rect l="l" t="t" r="r" b="b"/>
            <a:pathLst>
              <a:path w="1150009" h="754540">
                <a:moveTo>
                  <a:pt x="650005" y="342056"/>
                </a:moveTo>
                <a:cubicBezTo>
                  <a:pt x="1150009" y="342056"/>
                  <a:pt x="1150009" y="342056"/>
                  <a:pt x="1150009" y="342056"/>
                </a:cubicBezTo>
                <a:cubicBezTo>
                  <a:pt x="1150009" y="526926"/>
                  <a:pt x="1150009" y="659487"/>
                  <a:pt x="1150009" y="754540"/>
                </a:cubicBezTo>
                <a:lnTo>
                  <a:pt x="840006" y="754540"/>
                </a:lnTo>
                <a:cubicBezTo>
                  <a:pt x="840006" y="559844"/>
                  <a:pt x="840006" y="559844"/>
                  <a:pt x="840006" y="559844"/>
                </a:cubicBezTo>
                <a:cubicBezTo>
                  <a:pt x="650005" y="559844"/>
                  <a:pt x="650005" y="559844"/>
                  <a:pt x="650005" y="559844"/>
                </a:cubicBezTo>
                <a:cubicBezTo>
                  <a:pt x="650005" y="342056"/>
                  <a:pt x="650005" y="342056"/>
                  <a:pt x="650005" y="342056"/>
                </a:cubicBezTo>
                <a:close/>
                <a:moveTo>
                  <a:pt x="181676" y="0"/>
                </a:moveTo>
                <a:lnTo>
                  <a:pt x="1120009" y="0"/>
                </a:lnTo>
                <a:cubicBezTo>
                  <a:pt x="1120009" y="144066"/>
                  <a:pt x="1120009" y="144066"/>
                  <a:pt x="1120009" y="144066"/>
                </a:cubicBezTo>
                <a:cubicBezTo>
                  <a:pt x="1020008" y="84669"/>
                  <a:pt x="870007" y="64870"/>
                  <a:pt x="800007" y="64870"/>
                </a:cubicBezTo>
                <a:cubicBezTo>
                  <a:pt x="540005" y="64870"/>
                  <a:pt x="320002" y="173765"/>
                  <a:pt x="320002" y="450950"/>
                </a:cubicBezTo>
                <a:cubicBezTo>
                  <a:pt x="320002" y="584486"/>
                  <a:pt x="381916" y="690781"/>
                  <a:pt x="480397" y="754540"/>
                </a:cubicBezTo>
                <a:lnTo>
                  <a:pt x="77074" y="754540"/>
                </a:lnTo>
                <a:cubicBezTo>
                  <a:pt x="27933" y="674077"/>
                  <a:pt x="0" y="573351"/>
                  <a:pt x="0" y="450950"/>
                </a:cubicBezTo>
                <a:cubicBezTo>
                  <a:pt x="0" y="246024"/>
                  <a:pt x="65601" y="97659"/>
                  <a:pt x="1816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77825" y="1700253"/>
            <a:ext cx="4289425" cy="153888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0" y="7304045"/>
            <a:ext cx="12204700" cy="756000"/>
          </a:xfrm>
          <a:prstGeom prst="rect">
            <a:avLst/>
          </a:prstGeom>
          <a:solidFill>
            <a:schemeClr val="accent3">
              <a:lumMod val="9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08" tIns="61004" rIns="122008" bIns="61004" spcCol="0" rtlCol="0" anchor="ctr"/>
          <a:lstStyle/>
          <a:p>
            <a:pPr algn="ctr" eaLnBrk="1"/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Wasser &amp; Technik 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77826" y="315913"/>
            <a:ext cx="687705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5" name="Textfeld 24"/>
          <p:cNvSpPr txBox="1"/>
          <p:nvPr userDrawn="1"/>
        </p:nvSpPr>
        <p:spPr bwMode="gray">
          <a:xfrm>
            <a:off x="1700393" y="6256096"/>
            <a:ext cx="375743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200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bg1"/>
                </a:solidFill>
              </a:rPr>
              <a:t>FOLIE </a:t>
            </a:r>
            <a:fld id="{47E69A0B-197A-4DD5-BE5E-8D8187EA5689}" type="slidenum">
              <a:rPr lang="de-DE" sz="900" smtClean="0">
                <a:solidFill>
                  <a:schemeClr val="bg1"/>
                </a:solidFill>
              </a:rPr>
              <a:pPr marL="0" marR="0" indent="0" algn="l" defTabSz="12200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9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960383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25097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204700" cy="6859588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825" y="2154238"/>
            <a:ext cx="11442700" cy="369332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3516" y="3847385"/>
            <a:ext cx="11437009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585043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mit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826" y="315913"/>
            <a:ext cx="1144905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77825" y="1700253"/>
            <a:ext cx="5556250" cy="1538883"/>
          </a:xfrm>
        </p:spPr>
        <p:txBody>
          <a:bodyPr wrap="square">
            <a:sp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asser &amp; Technik </a:t>
            </a:r>
            <a:endParaRPr lang="de-DE" dirty="0"/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17"/>
          </p:nvPr>
        </p:nvSpPr>
        <p:spPr>
          <a:xfrm>
            <a:off x="6270625" y="1700213"/>
            <a:ext cx="5549900" cy="413067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27093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826" y="315913"/>
            <a:ext cx="1144905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asser &amp; Technik </a:t>
            </a:r>
            <a:endParaRPr lang="de-DE" dirty="0"/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17"/>
          </p:nvPr>
        </p:nvSpPr>
        <p:spPr>
          <a:xfrm>
            <a:off x="378487" y="1700213"/>
            <a:ext cx="11442038" cy="4130675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87095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lau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9830872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invGray">
          <a:xfrm>
            <a:off x="4779034" y="2985880"/>
            <a:ext cx="7035800" cy="104644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invGray">
          <a:xfrm>
            <a:off x="4779034" y="2662149"/>
            <a:ext cx="7035800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610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0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0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0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0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0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invGray">
          <a:xfrm>
            <a:off x="9963152" y="462594"/>
            <a:ext cx="1731398" cy="238223"/>
            <a:chOff x="5491163" y="3270250"/>
            <a:chExt cx="2859088" cy="393700"/>
          </a:xfrm>
          <a:solidFill>
            <a:schemeClr val="bg1"/>
          </a:solidFill>
        </p:grpSpPr>
        <p:sp>
          <p:nvSpPr>
            <p:cNvPr id="15" name="Freeform 12"/>
            <p:cNvSpPr>
              <a:spLocks/>
            </p:cNvSpPr>
            <p:nvPr userDrawn="1"/>
          </p:nvSpPr>
          <p:spPr bwMode="inv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inv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inv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inv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inv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20" name="Rectangle 17"/>
            <p:cNvSpPr>
              <a:spLocks noChangeArrowheads="1"/>
            </p:cNvSpPr>
            <p:nvPr userDrawn="1"/>
          </p:nvSpPr>
          <p:spPr bwMode="invGray">
            <a:xfrm>
              <a:off x="7904163" y="3276600"/>
              <a:ext cx="1031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inv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  <p:sp>
          <p:nvSpPr>
            <p:cNvPr id="22" name="Rectangle 19"/>
            <p:cNvSpPr>
              <a:spLocks noChangeArrowheads="1"/>
            </p:cNvSpPr>
            <p:nvPr userDrawn="1"/>
          </p:nvSpPr>
          <p:spPr bwMode="invGray">
            <a:xfrm>
              <a:off x="5491163" y="3276600"/>
              <a:ext cx="3825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noProof="0" dirty="0"/>
            </a:p>
          </p:txBody>
        </p:sp>
      </p:grpSp>
      <p:sp>
        <p:nvSpPr>
          <p:cNvPr id="24" name="Freeform 9"/>
          <p:cNvSpPr>
            <a:spLocks/>
          </p:cNvSpPr>
          <p:nvPr userDrawn="1"/>
        </p:nvSpPr>
        <p:spPr bwMode="invGray">
          <a:xfrm>
            <a:off x="4238" y="2374271"/>
            <a:ext cx="4289212" cy="4485317"/>
          </a:xfrm>
          <a:custGeom>
            <a:avLst/>
            <a:gdLst/>
            <a:ahLst/>
            <a:cxnLst/>
            <a:rect l="l" t="t" r="r" b="b"/>
            <a:pathLst>
              <a:path w="4252778" h="4447217">
                <a:moveTo>
                  <a:pt x="1946358" y="2374551"/>
                </a:moveTo>
                <a:cubicBezTo>
                  <a:pt x="4252778" y="2374551"/>
                  <a:pt x="4252778" y="2374551"/>
                  <a:pt x="4252778" y="2374551"/>
                </a:cubicBezTo>
                <a:cubicBezTo>
                  <a:pt x="4252778" y="3343655"/>
                  <a:pt x="4252778" y="4001144"/>
                  <a:pt x="4252778" y="4447217"/>
                </a:cubicBezTo>
                <a:lnTo>
                  <a:pt x="2822798" y="4447217"/>
                </a:lnTo>
                <a:cubicBezTo>
                  <a:pt x="2822798" y="3379169"/>
                  <a:pt x="2822798" y="3379169"/>
                  <a:pt x="2822798" y="3379169"/>
                </a:cubicBezTo>
                <a:cubicBezTo>
                  <a:pt x="1946358" y="3379169"/>
                  <a:pt x="1946358" y="3379169"/>
                  <a:pt x="1946358" y="3379169"/>
                </a:cubicBezTo>
                <a:cubicBezTo>
                  <a:pt x="1946358" y="2374551"/>
                  <a:pt x="1946358" y="2374551"/>
                  <a:pt x="1946358" y="2374551"/>
                </a:cubicBezTo>
                <a:close/>
                <a:moveTo>
                  <a:pt x="2407642" y="0"/>
                </a:moveTo>
                <a:cubicBezTo>
                  <a:pt x="2776669" y="0"/>
                  <a:pt x="3560852" y="45665"/>
                  <a:pt x="4114393" y="228322"/>
                </a:cubicBezTo>
                <a:cubicBezTo>
                  <a:pt x="4114393" y="1461262"/>
                  <a:pt x="4114393" y="1461262"/>
                  <a:pt x="4114393" y="1461262"/>
                </a:cubicBezTo>
                <a:cubicBezTo>
                  <a:pt x="3653109" y="1187276"/>
                  <a:pt x="2961183" y="1095947"/>
                  <a:pt x="2638284" y="1095947"/>
                </a:cubicBezTo>
                <a:cubicBezTo>
                  <a:pt x="1438946" y="1095947"/>
                  <a:pt x="424121" y="1598256"/>
                  <a:pt x="424121" y="2876860"/>
                </a:cubicBezTo>
                <a:cubicBezTo>
                  <a:pt x="424121" y="3624389"/>
                  <a:pt x="844736" y="4186858"/>
                  <a:pt x="1470511" y="4447217"/>
                </a:cubicBezTo>
                <a:lnTo>
                  <a:pt x="0" y="4447217"/>
                </a:lnTo>
                <a:lnTo>
                  <a:pt x="0" y="612021"/>
                </a:lnTo>
                <a:cubicBezTo>
                  <a:pt x="603422" y="188006"/>
                  <a:pt x="1436951" y="0"/>
                  <a:pt x="24076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noProof="0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4779034" y="5570432"/>
            <a:ext cx="7035800" cy="507831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</a:t>
            </a:r>
          </a:p>
          <a:p>
            <a:pPr lvl="0"/>
            <a:r>
              <a:rPr lang="de-DE" noProof="0" dirty="0"/>
              <a:t>Datu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05069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8669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825" y="315913"/>
            <a:ext cx="11449049" cy="36933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asser &amp; Technik </a:t>
            </a:r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299629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187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7827" y="315913"/>
            <a:ext cx="11449048" cy="369332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dirty="0"/>
              <a:t>Agenda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77826" y="1700213"/>
            <a:ext cx="11449050" cy="246221"/>
          </a:xfrm>
        </p:spPr>
        <p:txBody>
          <a:bodyPr wrap="square"/>
          <a:lstStyle>
            <a:lvl1pPr marL="0" indent="0">
              <a:spcBef>
                <a:spcPts val="0"/>
              </a:spcBef>
              <a:buFont typeface="+mj-lt"/>
              <a:buNone/>
              <a:tabLst>
                <a:tab pos="447675" algn="l"/>
              </a:tabLst>
              <a:defRPr/>
            </a:lvl1pPr>
            <a:lvl2pPr marL="628650" indent="-266700">
              <a:spcBef>
                <a:spcPts val="0"/>
              </a:spcBef>
              <a:buFont typeface="+mj-lt"/>
              <a:buAutoNum type="alphaUcPeriod"/>
              <a:defRPr/>
            </a:lvl2pPr>
            <a:lvl3pPr marL="895350" indent="-266700">
              <a:spcBef>
                <a:spcPts val="0"/>
              </a:spcBef>
              <a:buFont typeface="+mj-lt"/>
              <a:buAutoNum type="alphaLcPeriod"/>
              <a:defRPr/>
            </a:lvl3pPr>
            <a:lvl4pPr marL="973138" indent="-342900">
              <a:buFont typeface="+mj-lt"/>
              <a:buAutoNum type="arabicPeriod"/>
              <a:defRPr/>
            </a:lvl4pPr>
            <a:lvl5pPr marL="1144588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 noProof="0" dirty="0"/>
              <a:t>1.	</a:t>
            </a:r>
            <a:r>
              <a:rPr lang="de-DE" dirty="0"/>
              <a:t> Textmasterformat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Wasser &amp; Technik </a:t>
            </a:r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3744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8866" y="944782"/>
            <a:ext cx="11149502" cy="36933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866" y="1338574"/>
            <a:ext cx="11242732" cy="153888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0364E5F-AA04-4EFB-AA63-DE4F658390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pril 2019</a:t>
            </a:r>
            <a:endParaRPr lang="de-CH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0D9779BA-85A1-42A9-8727-64BD0C1B4D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12AD41-0386-4F60-81EC-351A2BB25648}" type="slidenum">
              <a:rPr lang="de-CH" altLang="de-DE"/>
              <a:pPr>
                <a:defRPr/>
              </a:pPr>
              <a:t>‹Nr.›</a:t>
            </a:fld>
            <a:endParaRPr lang="de-CH" altLang="de-DE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0E46E439-FF2E-408C-A4B4-4D396B242833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Wasser &amp; Technik </a:t>
            </a:r>
          </a:p>
        </p:txBody>
      </p:sp>
    </p:spTree>
    <p:extLst>
      <p:ext uri="{BB962C8B-B14F-4D97-AF65-F5344CB8AC3E}">
        <p14:creationId xmlns:p14="http://schemas.microsoft.com/office/powerpoint/2010/main" val="1149295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Blau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15059799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invGray">
          <a:xfrm>
            <a:off x="4779034" y="2662149"/>
            <a:ext cx="7035800" cy="104644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invGray">
          <a:xfrm>
            <a:off x="9963152" y="462594"/>
            <a:ext cx="1731398" cy="238223"/>
            <a:chOff x="5491163" y="3270250"/>
            <a:chExt cx="2859088" cy="393700"/>
          </a:xfrm>
          <a:solidFill>
            <a:schemeClr val="bg1"/>
          </a:solidFill>
        </p:grpSpPr>
        <p:sp>
          <p:nvSpPr>
            <p:cNvPr id="15" name="Freeform 12"/>
            <p:cNvSpPr>
              <a:spLocks/>
            </p:cNvSpPr>
            <p:nvPr userDrawn="1"/>
          </p:nvSpPr>
          <p:spPr bwMode="inv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inv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inv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inv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inv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Rectangle 17"/>
            <p:cNvSpPr>
              <a:spLocks noChangeArrowheads="1"/>
            </p:cNvSpPr>
            <p:nvPr userDrawn="1"/>
          </p:nvSpPr>
          <p:spPr bwMode="invGray">
            <a:xfrm>
              <a:off x="7904163" y="3276600"/>
              <a:ext cx="1031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inv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Rectangle 19"/>
            <p:cNvSpPr>
              <a:spLocks noChangeArrowheads="1"/>
            </p:cNvSpPr>
            <p:nvPr userDrawn="1"/>
          </p:nvSpPr>
          <p:spPr bwMode="invGray">
            <a:xfrm>
              <a:off x="5491163" y="3276600"/>
              <a:ext cx="3825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4" name="Freeform 9"/>
          <p:cNvSpPr>
            <a:spLocks/>
          </p:cNvSpPr>
          <p:nvPr userDrawn="1"/>
        </p:nvSpPr>
        <p:spPr bwMode="invGray">
          <a:xfrm>
            <a:off x="4238" y="2374271"/>
            <a:ext cx="4289212" cy="4485317"/>
          </a:xfrm>
          <a:custGeom>
            <a:avLst/>
            <a:gdLst/>
            <a:ahLst/>
            <a:cxnLst/>
            <a:rect l="l" t="t" r="r" b="b"/>
            <a:pathLst>
              <a:path w="4252778" h="4447217">
                <a:moveTo>
                  <a:pt x="1946358" y="2374551"/>
                </a:moveTo>
                <a:cubicBezTo>
                  <a:pt x="4252778" y="2374551"/>
                  <a:pt x="4252778" y="2374551"/>
                  <a:pt x="4252778" y="2374551"/>
                </a:cubicBezTo>
                <a:cubicBezTo>
                  <a:pt x="4252778" y="3343655"/>
                  <a:pt x="4252778" y="4001144"/>
                  <a:pt x="4252778" y="4447217"/>
                </a:cubicBezTo>
                <a:lnTo>
                  <a:pt x="2822798" y="4447217"/>
                </a:lnTo>
                <a:cubicBezTo>
                  <a:pt x="2822798" y="3379169"/>
                  <a:pt x="2822798" y="3379169"/>
                  <a:pt x="2822798" y="3379169"/>
                </a:cubicBezTo>
                <a:cubicBezTo>
                  <a:pt x="1946358" y="3379169"/>
                  <a:pt x="1946358" y="3379169"/>
                  <a:pt x="1946358" y="3379169"/>
                </a:cubicBezTo>
                <a:cubicBezTo>
                  <a:pt x="1946358" y="2374551"/>
                  <a:pt x="1946358" y="2374551"/>
                  <a:pt x="1946358" y="2374551"/>
                </a:cubicBezTo>
                <a:close/>
                <a:moveTo>
                  <a:pt x="2407642" y="0"/>
                </a:moveTo>
                <a:cubicBezTo>
                  <a:pt x="2776669" y="0"/>
                  <a:pt x="3560852" y="45665"/>
                  <a:pt x="4114393" y="228322"/>
                </a:cubicBezTo>
                <a:cubicBezTo>
                  <a:pt x="4114393" y="1461262"/>
                  <a:pt x="4114393" y="1461262"/>
                  <a:pt x="4114393" y="1461262"/>
                </a:cubicBezTo>
                <a:cubicBezTo>
                  <a:pt x="3653109" y="1187276"/>
                  <a:pt x="2961183" y="1095947"/>
                  <a:pt x="2638284" y="1095947"/>
                </a:cubicBezTo>
                <a:cubicBezTo>
                  <a:pt x="1438946" y="1095947"/>
                  <a:pt x="424121" y="1598256"/>
                  <a:pt x="424121" y="2876860"/>
                </a:cubicBezTo>
                <a:cubicBezTo>
                  <a:pt x="424121" y="3624389"/>
                  <a:pt x="844736" y="4186858"/>
                  <a:pt x="1470511" y="4447217"/>
                </a:cubicBezTo>
                <a:lnTo>
                  <a:pt x="0" y="4447217"/>
                </a:lnTo>
                <a:lnTo>
                  <a:pt x="0" y="612021"/>
                </a:lnTo>
                <a:cubicBezTo>
                  <a:pt x="603422" y="188006"/>
                  <a:pt x="1436951" y="0"/>
                  <a:pt x="24076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58666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au 1 ">
    <p:bg>
      <p:bgPr>
        <a:solidFill>
          <a:srgbClr val="3D3D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7338408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invGray">
          <a:xfrm>
            <a:off x="4779034" y="2662149"/>
            <a:ext cx="7035800" cy="104644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invGray">
          <a:xfrm>
            <a:off x="4779034" y="3786099"/>
            <a:ext cx="7035800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610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0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0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0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0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0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invGray">
          <a:xfrm>
            <a:off x="9963152" y="462594"/>
            <a:ext cx="1731398" cy="238223"/>
            <a:chOff x="5491163" y="3270250"/>
            <a:chExt cx="2859088" cy="393700"/>
          </a:xfrm>
          <a:solidFill>
            <a:schemeClr val="bg1"/>
          </a:solidFill>
        </p:grpSpPr>
        <p:sp>
          <p:nvSpPr>
            <p:cNvPr id="15" name="Freeform 12"/>
            <p:cNvSpPr>
              <a:spLocks/>
            </p:cNvSpPr>
            <p:nvPr userDrawn="1"/>
          </p:nvSpPr>
          <p:spPr bwMode="inv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inv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inv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inv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inv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Rectangle 17"/>
            <p:cNvSpPr>
              <a:spLocks noChangeArrowheads="1"/>
            </p:cNvSpPr>
            <p:nvPr userDrawn="1"/>
          </p:nvSpPr>
          <p:spPr bwMode="invGray">
            <a:xfrm>
              <a:off x="7904163" y="3276600"/>
              <a:ext cx="1031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inv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Rectangle 19"/>
            <p:cNvSpPr>
              <a:spLocks noChangeArrowheads="1"/>
            </p:cNvSpPr>
            <p:nvPr userDrawn="1"/>
          </p:nvSpPr>
          <p:spPr bwMode="invGray">
            <a:xfrm>
              <a:off x="5491163" y="3276600"/>
              <a:ext cx="3825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4" name="Freeform 9"/>
          <p:cNvSpPr>
            <a:spLocks/>
          </p:cNvSpPr>
          <p:nvPr userDrawn="1"/>
        </p:nvSpPr>
        <p:spPr bwMode="invGray">
          <a:xfrm>
            <a:off x="4238" y="2374271"/>
            <a:ext cx="4289212" cy="4485317"/>
          </a:xfrm>
          <a:custGeom>
            <a:avLst/>
            <a:gdLst/>
            <a:ahLst/>
            <a:cxnLst/>
            <a:rect l="l" t="t" r="r" b="b"/>
            <a:pathLst>
              <a:path w="4252778" h="4447217">
                <a:moveTo>
                  <a:pt x="1946358" y="2374551"/>
                </a:moveTo>
                <a:cubicBezTo>
                  <a:pt x="4252778" y="2374551"/>
                  <a:pt x="4252778" y="2374551"/>
                  <a:pt x="4252778" y="2374551"/>
                </a:cubicBezTo>
                <a:cubicBezTo>
                  <a:pt x="4252778" y="3343655"/>
                  <a:pt x="4252778" y="4001144"/>
                  <a:pt x="4252778" y="4447217"/>
                </a:cubicBezTo>
                <a:lnTo>
                  <a:pt x="2822798" y="4447217"/>
                </a:lnTo>
                <a:cubicBezTo>
                  <a:pt x="2822798" y="3379169"/>
                  <a:pt x="2822798" y="3379169"/>
                  <a:pt x="2822798" y="3379169"/>
                </a:cubicBezTo>
                <a:cubicBezTo>
                  <a:pt x="1946358" y="3379169"/>
                  <a:pt x="1946358" y="3379169"/>
                  <a:pt x="1946358" y="3379169"/>
                </a:cubicBezTo>
                <a:cubicBezTo>
                  <a:pt x="1946358" y="2374551"/>
                  <a:pt x="1946358" y="2374551"/>
                  <a:pt x="1946358" y="2374551"/>
                </a:cubicBezTo>
                <a:close/>
                <a:moveTo>
                  <a:pt x="2407642" y="0"/>
                </a:moveTo>
                <a:cubicBezTo>
                  <a:pt x="2776669" y="0"/>
                  <a:pt x="3560852" y="45665"/>
                  <a:pt x="4114393" y="228322"/>
                </a:cubicBezTo>
                <a:cubicBezTo>
                  <a:pt x="4114393" y="1461262"/>
                  <a:pt x="4114393" y="1461262"/>
                  <a:pt x="4114393" y="1461262"/>
                </a:cubicBezTo>
                <a:cubicBezTo>
                  <a:pt x="3653109" y="1187276"/>
                  <a:pt x="2961183" y="1095947"/>
                  <a:pt x="2638284" y="1095947"/>
                </a:cubicBezTo>
                <a:cubicBezTo>
                  <a:pt x="1438946" y="1095947"/>
                  <a:pt x="424121" y="1598256"/>
                  <a:pt x="424121" y="2876860"/>
                </a:cubicBezTo>
                <a:cubicBezTo>
                  <a:pt x="424121" y="3624389"/>
                  <a:pt x="844736" y="4186858"/>
                  <a:pt x="1470511" y="4447217"/>
                </a:cubicBezTo>
                <a:lnTo>
                  <a:pt x="0" y="4447217"/>
                </a:lnTo>
                <a:lnTo>
                  <a:pt x="0" y="612021"/>
                </a:lnTo>
                <a:cubicBezTo>
                  <a:pt x="603422" y="188006"/>
                  <a:pt x="1436951" y="0"/>
                  <a:pt x="2407642" y="0"/>
                </a:cubicBezTo>
                <a:close/>
              </a:path>
            </a:pathLst>
          </a:custGeom>
          <a:solidFill>
            <a:srgbClr val="86868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4779034" y="5570432"/>
            <a:ext cx="7035800" cy="507831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  <a:p>
            <a:pPr lvl="0"/>
            <a:r>
              <a:rPr lang="de-DE" dirty="0"/>
              <a:t>Datu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87426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au 2 ">
    <p:bg>
      <p:bgPr>
        <a:solidFill>
          <a:srgbClr val="3D3D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7684395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invGray">
          <a:xfrm>
            <a:off x="4779034" y="2985880"/>
            <a:ext cx="7035800" cy="104644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invGray">
          <a:xfrm>
            <a:off x="4779034" y="2662149"/>
            <a:ext cx="7035800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610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0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0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0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0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0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invGray">
          <a:xfrm>
            <a:off x="9963152" y="462594"/>
            <a:ext cx="1731398" cy="238223"/>
            <a:chOff x="5491163" y="3270250"/>
            <a:chExt cx="2859088" cy="393700"/>
          </a:xfrm>
          <a:solidFill>
            <a:schemeClr val="bg1"/>
          </a:solidFill>
        </p:grpSpPr>
        <p:sp>
          <p:nvSpPr>
            <p:cNvPr id="15" name="Freeform 12"/>
            <p:cNvSpPr>
              <a:spLocks/>
            </p:cNvSpPr>
            <p:nvPr userDrawn="1"/>
          </p:nvSpPr>
          <p:spPr bwMode="inv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inv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inv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inv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inv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Rectangle 17"/>
            <p:cNvSpPr>
              <a:spLocks noChangeArrowheads="1"/>
            </p:cNvSpPr>
            <p:nvPr userDrawn="1"/>
          </p:nvSpPr>
          <p:spPr bwMode="invGray">
            <a:xfrm>
              <a:off x="7904163" y="3276600"/>
              <a:ext cx="1031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inv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Rectangle 19"/>
            <p:cNvSpPr>
              <a:spLocks noChangeArrowheads="1"/>
            </p:cNvSpPr>
            <p:nvPr userDrawn="1"/>
          </p:nvSpPr>
          <p:spPr bwMode="invGray">
            <a:xfrm>
              <a:off x="5491163" y="3276600"/>
              <a:ext cx="3825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4" name="Freeform 9"/>
          <p:cNvSpPr>
            <a:spLocks/>
          </p:cNvSpPr>
          <p:nvPr userDrawn="1"/>
        </p:nvSpPr>
        <p:spPr bwMode="invGray">
          <a:xfrm>
            <a:off x="4238" y="2374271"/>
            <a:ext cx="4289212" cy="4485317"/>
          </a:xfrm>
          <a:custGeom>
            <a:avLst/>
            <a:gdLst/>
            <a:ahLst/>
            <a:cxnLst/>
            <a:rect l="l" t="t" r="r" b="b"/>
            <a:pathLst>
              <a:path w="4252778" h="4447217">
                <a:moveTo>
                  <a:pt x="1946358" y="2374551"/>
                </a:moveTo>
                <a:cubicBezTo>
                  <a:pt x="4252778" y="2374551"/>
                  <a:pt x="4252778" y="2374551"/>
                  <a:pt x="4252778" y="2374551"/>
                </a:cubicBezTo>
                <a:cubicBezTo>
                  <a:pt x="4252778" y="3343655"/>
                  <a:pt x="4252778" y="4001144"/>
                  <a:pt x="4252778" y="4447217"/>
                </a:cubicBezTo>
                <a:lnTo>
                  <a:pt x="2822798" y="4447217"/>
                </a:lnTo>
                <a:cubicBezTo>
                  <a:pt x="2822798" y="3379169"/>
                  <a:pt x="2822798" y="3379169"/>
                  <a:pt x="2822798" y="3379169"/>
                </a:cubicBezTo>
                <a:cubicBezTo>
                  <a:pt x="1946358" y="3379169"/>
                  <a:pt x="1946358" y="3379169"/>
                  <a:pt x="1946358" y="3379169"/>
                </a:cubicBezTo>
                <a:cubicBezTo>
                  <a:pt x="1946358" y="2374551"/>
                  <a:pt x="1946358" y="2374551"/>
                  <a:pt x="1946358" y="2374551"/>
                </a:cubicBezTo>
                <a:close/>
                <a:moveTo>
                  <a:pt x="2407642" y="0"/>
                </a:moveTo>
                <a:cubicBezTo>
                  <a:pt x="2776669" y="0"/>
                  <a:pt x="3560852" y="45665"/>
                  <a:pt x="4114393" y="228322"/>
                </a:cubicBezTo>
                <a:cubicBezTo>
                  <a:pt x="4114393" y="1461262"/>
                  <a:pt x="4114393" y="1461262"/>
                  <a:pt x="4114393" y="1461262"/>
                </a:cubicBezTo>
                <a:cubicBezTo>
                  <a:pt x="3653109" y="1187276"/>
                  <a:pt x="2961183" y="1095947"/>
                  <a:pt x="2638284" y="1095947"/>
                </a:cubicBezTo>
                <a:cubicBezTo>
                  <a:pt x="1438946" y="1095947"/>
                  <a:pt x="424121" y="1598256"/>
                  <a:pt x="424121" y="2876860"/>
                </a:cubicBezTo>
                <a:cubicBezTo>
                  <a:pt x="424121" y="3624389"/>
                  <a:pt x="844736" y="4186858"/>
                  <a:pt x="1470511" y="4447217"/>
                </a:cubicBezTo>
                <a:lnTo>
                  <a:pt x="0" y="4447217"/>
                </a:lnTo>
                <a:lnTo>
                  <a:pt x="0" y="612021"/>
                </a:lnTo>
                <a:cubicBezTo>
                  <a:pt x="603422" y="188006"/>
                  <a:pt x="1436951" y="0"/>
                  <a:pt x="2407642" y="0"/>
                </a:cubicBezTo>
                <a:close/>
              </a:path>
            </a:pathLst>
          </a:custGeom>
          <a:solidFill>
            <a:srgbClr val="86868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 bwMode="invGray">
          <a:xfrm>
            <a:off x="4779034" y="5570432"/>
            <a:ext cx="7035800" cy="507831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  <a:p>
            <a:pPr lvl="0"/>
            <a:r>
              <a:rPr lang="de-DE" dirty="0"/>
              <a:t>Datu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631216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Grau ">
    <p:bg>
      <p:bgPr>
        <a:solidFill>
          <a:srgbClr val="3D3D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2761809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invGray">
          <a:xfrm>
            <a:off x="4779034" y="2662149"/>
            <a:ext cx="7035800" cy="1046440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invGray">
          <a:xfrm>
            <a:off x="9963152" y="462594"/>
            <a:ext cx="1731398" cy="238223"/>
            <a:chOff x="5491163" y="3270250"/>
            <a:chExt cx="2859088" cy="393700"/>
          </a:xfrm>
          <a:solidFill>
            <a:schemeClr val="bg1"/>
          </a:solidFill>
        </p:grpSpPr>
        <p:sp>
          <p:nvSpPr>
            <p:cNvPr id="15" name="Freeform 12"/>
            <p:cNvSpPr>
              <a:spLocks/>
            </p:cNvSpPr>
            <p:nvPr userDrawn="1"/>
          </p:nvSpPr>
          <p:spPr bwMode="inv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inv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inv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inv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inv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Rectangle 17"/>
            <p:cNvSpPr>
              <a:spLocks noChangeArrowheads="1"/>
            </p:cNvSpPr>
            <p:nvPr userDrawn="1"/>
          </p:nvSpPr>
          <p:spPr bwMode="invGray">
            <a:xfrm>
              <a:off x="7904163" y="3276600"/>
              <a:ext cx="1031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inv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Rectangle 19"/>
            <p:cNvSpPr>
              <a:spLocks noChangeArrowheads="1"/>
            </p:cNvSpPr>
            <p:nvPr userDrawn="1"/>
          </p:nvSpPr>
          <p:spPr bwMode="invGray">
            <a:xfrm>
              <a:off x="5491163" y="3276600"/>
              <a:ext cx="3825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4" name="Freeform 9"/>
          <p:cNvSpPr>
            <a:spLocks/>
          </p:cNvSpPr>
          <p:nvPr userDrawn="1"/>
        </p:nvSpPr>
        <p:spPr bwMode="invGray">
          <a:xfrm>
            <a:off x="4238" y="2374271"/>
            <a:ext cx="4289212" cy="4485317"/>
          </a:xfrm>
          <a:custGeom>
            <a:avLst/>
            <a:gdLst/>
            <a:ahLst/>
            <a:cxnLst/>
            <a:rect l="l" t="t" r="r" b="b"/>
            <a:pathLst>
              <a:path w="4252778" h="4447217">
                <a:moveTo>
                  <a:pt x="1946358" y="2374551"/>
                </a:moveTo>
                <a:cubicBezTo>
                  <a:pt x="4252778" y="2374551"/>
                  <a:pt x="4252778" y="2374551"/>
                  <a:pt x="4252778" y="2374551"/>
                </a:cubicBezTo>
                <a:cubicBezTo>
                  <a:pt x="4252778" y="3343655"/>
                  <a:pt x="4252778" y="4001144"/>
                  <a:pt x="4252778" y="4447217"/>
                </a:cubicBezTo>
                <a:lnTo>
                  <a:pt x="2822798" y="4447217"/>
                </a:lnTo>
                <a:cubicBezTo>
                  <a:pt x="2822798" y="3379169"/>
                  <a:pt x="2822798" y="3379169"/>
                  <a:pt x="2822798" y="3379169"/>
                </a:cubicBezTo>
                <a:cubicBezTo>
                  <a:pt x="1946358" y="3379169"/>
                  <a:pt x="1946358" y="3379169"/>
                  <a:pt x="1946358" y="3379169"/>
                </a:cubicBezTo>
                <a:cubicBezTo>
                  <a:pt x="1946358" y="2374551"/>
                  <a:pt x="1946358" y="2374551"/>
                  <a:pt x="1946358" y="2374551"/>
                </a:cubicBezTo>
                <a:close/>
                <a:moveTo>
                  <a:pt x="2407642" y="0"/>
                </a:moveTo>
                <a:cubicBezTo>
                  <a:pt x="2776669" y="0"/>
                  <a:pt x="3560852" y="45665"/>
                  <a:pt x="4114393" y="228322"/>
                </a:cubicBezTo>
                <a:cubicBezTo>
                  <a:pt x="4114393" y="1461262"/>
                  <a:pt x="4114393" y="1461262"/>
                  <a:pt x="4114393" y="1461262"/>
                </a:cubicBezTo>
                <a:cubicBezTo>
                  <a:pt x="3653109" y="1187276"/>
                  <a:pt x="2961183" y="1095947"/>
                  <a:pt x="2638284" y="1095947"/>
                </a:cubicBezTo>
                <a:cubicBezTo>
                  <a:pt x="1438946" y="1095947"/>
                  <a:pt x="424121" y="1598256"/>
                  <a:pt x="424121" y="2876860"/>
                </a:cubicBezTo>
                <a:cubicBezTo>
                  <a:pt x="424121" y="3624389"/>
                  <a:pt x="844736" y="4186858"/>
                  <a:pt x="1470511" y="4447217"/>
                </a:cubicBezTo>
                <a:lnTo>
                  <a:pt x="0" y="4447217"/>
                </a:lnTo>
                <a:lnTo>
                  <a:pt x="0" y="612021"/>
                </a:lnTo>
                <a:cubicBezTo>
                  <a:pt x="603422" y="188006"/>
                  <a:pt x="1436951" y="0"/>
                  <a:pt x="2407642" y="0"/>
                </a:cubicBezTo>
                <a:close/>
              </a:path>
            </a:pathLst>
          </a:custGeom>
          <a:solidFill>
            <a:srgbClr val="86868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69136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Weiss">
    <p:bg>
      <p:bgPr>
        <a:gradFill flip="none" rotWithShape="1">
          <a:gsLst>
            <a:gs pos="0">
              <a:schemeClr val="accent2"/>
            </a:gs>
            <a:gs pos="50000">
              <a:schemeClr val="bg1"/>
            </a:gs>
            <a:gs pos="100000">
              <a:schemeClr val="bg1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38661475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779034" y="2662149"/>
            <a:ext cx="7035800" cy="1046440"/>
          </a:xfrm>
        </p:spPr>
        <p:txBody>
          <a:bodyPr/>
          <a:lstStyle>
            <a:lvl1pPr>
              <a:defRPr sz="3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779034" y="3786099"/>
            <a:ext cx="7035800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>
                    <a:lumMod val="50000"/>
                  </a:schemeClr>
                </a:solidFill>
              </a:defRPr>
            </a:lvl1pPr>
            <a:lvl2pPr marL="610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0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0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0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0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0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9963152" y="462594"/>
            <a:ext cx="1731398" cy="238223"/>
            <a:chOff x="5491163" y="3270250"/>
            <a:chExt cx="2859088" cy="393700"/>
          </a:xfrm>
          <a:solidFill>
            <a:schemeClr val="tx1">
              <a:lumMod val="50000"/>
            </a:schemeClr>
          </a:solidFill>
        </p:grpSpPr>
        <p:sp>
          <p:nvSpPr>
            <p:cNvPr id="15" name="Freeform 12"/>
            <p:cNvSpPr>
              <a:spLocks/>
            </p:cNvSpPr>
            <p:nvPr userDrawn="1"/>
          </p:nvSpPr>
          <p:spPr bwMode="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Rectangle 17"/>
            <p:cNvSpPr>
              <a:spLocks noChangeArrowheads="1"/>
            </p:cNvSpPr>
            <p:nvPr userDrawn="1"/>
          </p:nvSpPr>
          <p:spPr bwMode="gray">
            <a:xfrm>
              <a:off x="7904163" y="3276600"/>
              <a:ext cx="1031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Rectangle 19"/>
            <p:cNvSpPr>
              <a:spLocks noChangeArrowheads="1"/>
            </p:cNvSpPr>
            <p:nvPr userDrawn="1"/>
          </p:nvSpPr>
          <p:spPr bwMode="gray">
            <a:xfrm>
              <a:off x="5491163" y="3276600"/>
              <a:ext cx="382588" cy="382588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4" name="Freeform 9"/>
          <p:cNvSpPr>
            <a:spLocks/>
          </p:cNvSpPr>
          <p:nvPr userDrawn="1"/>
        </p:nvSpPr>
        <p:spPr bwMode="gray">
          <a:xfrm>
            <a:off x="4238" y="2374271"/>
            <a:ext cx="4289212" cy="4485317"/>
          </a:xfrm>
          <a:custGeom>
            <a:avLst/>
            <a:gdLst/>
            <a:ahLst/>
            <a:cxnLst/>
            <a:rect l="l" t="t" r="r" b="b"/>
            <a:pathLst>
              <a:path w="4252778" h="4447217">
                <a:moveTo>
                  <a:pt x="1946358" y="2374551"/>
                </a:moveTo>
                <a:cubicBezTo>
                  <a:pt x="4252778" y="2374551"/>
                  <a:pt x="4252778" y="2374551"/>
                  <a:pt x="4252778" y="2374551"/>
                </a:cubicBezTo>
                <a:cubicBezTo>
                  <a:pt x="4252778" y="3343655"/>
                  <a:pt x="4252778" y="4001144"/>
                  <a:pt x="4252778" y="4447217"/>
                </a:cubicBezTo>
                <a:lnTo>
                  <a:pt x="2822798" y="4447217"/>
                </a:lnTo>
                <a:cubicBezTo>
                  <a:pt x="2822798" y="3379169"/>
                  <a:pt x="2822798" y="3379169"/>
                  <a:pt x="2822798" y="3379169"/>
                </a:cubicBezTo>
                <a:cubicBezTo>
                  <a:pt x="1946358" y="3379169"/>
                  <a:pt x="1946358" y="3379169"/>
                  <a:pt x="1946358" y="3379169"/>
                </a:cubicBezTo>
                <a:cubicBezTo>
                  <a:pt x="1946358" y="2374551"/>
                  <a:pt x="1946358" y="2374551"/>
                  <a:pt x="1946358" y="2374551"/>
                </a:cubicBezTo>
                <a:close/>
                <a:moveTo>
                  <a:pt x="2407642" y="0"/>
                </a:moveTo>
                <a:cubicBezTo>
                  <a:pt x="2776669" y="0"/>
                  <a:pt x="3560852" y="45665"/>
                  <a:pt x="4114393" y="228322"/>
                </a:cubicBezTo>
                <a:cubicBezTo>
                  <a:pt x="4114393" y="1461262"/>
                  <a:pt x="4114393" y="1461262"/>
                  <a:pt x="4114393" y="1461262"/>
                </a:cubicBezTo>
                <a:cubicBezTo>
                  <a:pt x="3653109" y="1187276"/>
                  <a:pt x="2961183" y="1095947"/>
                  <a:pt x="2638284" y="1095947"/>
                </a:cubicBezTo>
                <a:cubicBezTo>
                  <a:pt x="1438946" y="1095947"/>
                  <a:pt x="424121" y="1598256"/>
                  <a:pt x="424121" y="2876860"/>
                </a:cubicBezTo>
                <a:cubicBezTo>
                  <a:pt x="424121" y="3624389"/>
                  <a:pt x="844736" y="4186858"/>
                  <a:pt x="1470511" y="4447217"/>
                </a:cubicBezTo>
                <a:lnTo>
                  <a:pt x="0" y="4447217"/>
                </a:lnTo>
                <a:lnTo>
                  <a:pt x="0" y="612021"/>
                </a:lnTo>
                <a:cubicBezTo>
                  <a:pt x="603422" y="188006"/>
                  <a:pt x="1436951" y="0"/>
                  <a:pt x="24076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779034" y="5570432"/>
            <a:ext cx="7035800" cy="507831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  <a:p>
            <a:pPr lvl="0"/>
            <a:r>
              <a:rPr lang="de-DE" dirty="0"/>
              <a:t>Datu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08881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Weiss 2">
    <p:bg>
      <p:bgPr>
        <a:gradFill flip="none" rotWithShape="1">
          <a:gsLst>
            <a:gs pos="0">
              <a:schemeClr val="accent2"/>
            </a:gs>
            <a:gs pos="50000">
              <a:schemeClr val="bg1"/>
            </a:gs>
            <a:gs pos="100000">
              <a:schemeClr val="bg1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7196487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779034" y="2985880"/>
            <a:ext cx="7035800" cy="1046440"/>
          </a:xfrm>
        </p:spPr>
        <p:txBody>
          <a:bodyPr/>
          <a:lstStyle>
            <a:lvl1pPr>
              <a:defRPr sz="3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779034" y="2662149"/>
            <a:ext cx="7035800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>
                    <a:lumMod val="50000"/>
                  </a:schemeClr>
                </a:solidFill>
              </a:defRPr>
            </a:lvl1pPr>
            <a:lvl2pPr marL="610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20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30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4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50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60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70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80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9963152" y="462594"/>
            <a:ext cx="1731398" cy="238223"/>
            <a:chOff x="5491163" y="3270250"/>
            <a:chExt cx="2859088" cy="393700"/>
          </a:xfrm>
          <a:solidFill>
            <a:schemeClr val="tx1">
              <a:lumMod val="50000"/>
            </a:schemeClr>
          </a:solidFill>
        </p:grpSpPr>
        <p:sp>
          <p:nvSpPr>
            <p:cNvPr id="15" name="Freeform 12"/>
            <p:cNvSpPr>
              <a:spLocks/>
            </p:cNvSpPr>
            <p:nvPr userDrawn="1"/>
          </p:nvSpPr>
          <p:spPr bwMode="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0" name="Rectangle 17"/>
            <p:cNvSpPr>
              <a:spLocks noChangeArrowheads="1"/>
            </p:cNvSpPr>
            <p:nvPr userDrawn="1"/>
          </p:nvSpPr>
          <p:spPr bwMode="gray">
            <a:xfrm>
              <a:off x="7904163" y="3276600"/>
              <a:ext cx="1031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2" name="Rectangle 19"/>
            <p:cNvSpPr>
              <a:spLocks noChangeArrowheads="1"/>
            </p:cNvSpPr>
            <p:nvPr userDrawn="1"/>
          </p:nvSpPr>
          <p:spPr bwMode="gray">
            <a:xfrm>
              <a:off x="5491163" y="3276600"/>
              <a:ext cx="382588" cy="382588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24" name="Freeform 9"/>
          <p:cNvSpPr>
            <a:spLocks/>
          </p:cNvSpPr>
          <p:nvPr userDrawn="1"/>
        </p:nvSpPr>
        <p:spPr bwMode="gray">
          <a:xfrm>
            <a:off x="4238" y="2374271"/>
            <a:ext cx="4289212" cy="4485317"/>
          </a:xfrm>
          <a:custGeom>
            <a:avLst/>
            <a:gdLst/>
            <a:ahLst/>
            <a:cxnLst/>
            <a:rect l="l" t="t" r="r" b="b"/>
            <a:pathLst>
              <a:path w="4252778" h="4447217">
                <a:moveTo>
                  <a:pt x="1946358" y="2374551"/>
                </a:moveTo>
                <a:cubicBezTo>
                  <a:pt x="4252778" y="2374551"/>
                  <a:pt x="4252778" y="2374551"/>
                  <a:pt x="4252778" y="2374551"/>
                </a:cubicBezTo>
                <a:cubicBezTo>
                  <a:pt x="4252778" y="3343655"/>
                  <a:pt x="4252778" y="4001144"/>
                  <a:pt x="4252778" y="4447217"/>
                </a:cubicBezTo>
                <a:lnTo>
                  <a:pt x="2822798" y="4447217"/>
                </a:lnTo>
                <a:cubicBezTo>
                  <a:pt x="2822798" y="3379169"/>
                  <a:pt x="2822798" y="3379169"/>
                  <a:pt x="2822798" y="3379169"/>
                </a:cubicBezTo>
                <a:cubicBezTo>
                  <a:pt x="1946358" y="3379169"/>
                  <a:pt x="1946358" y="3379169"/>
                  <a:pt x="1946358" y="3379169"/>
                </a:cubicBezTo>
                <a:cubicBezTo>
                  <a:pt x="1946358" y="2374551"/>
                  <a:pt x="1946358" y="2374551"/>
                  <a:pt x="1946358" y="2374551"/>
                </a:cubicBezTo>
                <a:close/>
                <a:moveTo>
                  <a:pt x="2407642" y="0"/>
                </a:moveTo>
                <a:cubicBezTo>
                  <a:pt x="2776669" y="0"/>
                  <a:pt x="3560852" y="45665"/>
                  <a:pt x="4114393" y="228322"/>
                </a:cubicBezTo>
                <a:cubicBezTo>
                  <a:pt x="4114393" y="1461262"/>
                  <a:pt x="4114393" y="1461262"/>
                  <a:pt x="4114393" y="1461262"/>
                </a:cubicBezTo>
                <a:cubicBezTo>
                  <a:pt x="3653109" y="1187276"/>
                  <a:pt x="2961183" y="1095947"/>
                  <a:pt x="2638284" y="1095947"/>
                </a:cubicBezTo>
                <a:cubicBezTo>
                  <a:pt x="1438946" y="1095947"/>
                  <a:pt x="424121" y="1598256"/>
                  <a:pt x="424121" y="2876860"/>
                </a:cubicBezTo>
                <a:cubicBezTo>
                  <a:pt x="424121" y="3624389"/>
                  <a:pt x="844736" y="4186858"/>
                  <a:pt x="1470511" y="4447217"/>
                </a:cubicBezTo>
                <a:lnTo>
                  <a:pt x="0" y="4447217"/>
                </a:lnTo>
                <a:lnTo>
                  <a:pt x="0" y="612021"/>
                </a:lnTo>
                <a:cubicBezTo>
                  <a:pt x="603422" y="188006"/>
                  <a:pt x="1436951" y="0"/>
                  <a:pt x="24076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779034" y="5570432"/>
            <a:ext cx="7035800" cy="507831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 dirty="0"/>
              <a:t>Name</a:t>
            </a:r>
          </a:p>
          <a:p>
            <a:pPr lvl="0"/>
            <a:r>
              <a:rPr lang="de-DE" dirty="0"/>
              <a:t>Datu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120231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Weiss ">
    <p:bg>
      <p:bgPr>
        <a:gradFill flip="none" rotWithShape="1">
          <a:gsLst>
            <a:gs pos="0">
              <a:schemeClr val="accent2"/>
            </a:gs>
            <a:gs pos="50000">
              <a:schemeClr val="bg1"/>
            </a:gs>
            <a:gs pos="100000">
              <a:schemeClr val="bg1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55552957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79034" y="2662149"/>
            <a:ext cx="7035800" cy="1046440"/>
          </a:xfrm>
        </p:spPr>
        <p:txBody>
          <a:bodyPr/>
          <a:lstStyle>
            <a:lvl1pPr>
              <a:defRPr sz="3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4" name="Freeform 9"/>
          <p:cNvSpPr>
            <a:spLocks/>
          </p:cNvSpPr>
          <p:nvPr userDrawn="1"/>
        </p:nvSpPr>
        <p:spPr bwMode="auto">
          <a:xfrm>
            <a:off x="4238" y="2374271"/>
            <a:ext cx="4289212" cy="4485317"/>
          </a:xfrm>
          <a:custGeom>
            <a:avLst/>
            <a:gdLst/>
            <a:ahLst/>
            <a:cxnLst/>
            <a:rect l="l" t="t" r="r" b="b"/>
            <a:pathLst>
              <a:path w="4252778" h="4447217">
                <a:moveTo>
                  <a:pt x="1946358" y="2374551"/>
                </a:moveTo>
                <a:cubicBezTo>
                  <a:pt x="4252778" y="2374551"/>
                  <a:pt x="4252778" y="2374551"/>
                  <a:pt x="4252778" y="2374551"/>
                </a:cubicBezTo>
                <a:cubicBezTo>
                  <a:pt x="4252778" y="3343655"/>
                  <a:pt x="4252778" y="4001144"/>
                  <a:pt x="4252778" y="4447217"/>
                </a:cubicBezTo>
                <a:lnTo>
                  <a:pt x="2822798" y="4447217"/>
                </a:lnTo>
                <a:cubicBezTo>
                  <a:pt x="2822798" y="3379169"/>
                  <a:pt x="2822798" y="3379169"/>
                  <a:pt x="2822798" y="3379169"/>
                </a:cubicBezTo>
                <a:cubicBezTo>
                  <a:pt x="1946358" y="3379169"/>
                  <a:pt x="1946358" y="3379169"/>
                  <a:pt x="1946358" y="3379169"/>
                </a:cubicBezTo>
                <a:cubicBezTo>
                  <a:pt x="1946358" y="2374551"/>
                  <a:pt x="1946358" y="2374551"/>
                  <a:pt x="1946358" y="2374551"/>
                </a:cubicBezTo>
                <a:close/>
                <a:moveTo>
                  <a:pt x="2407642" y="0"/>
                </a:moveTo>
                <a:cubicBezTo>
                  <a:pt x="2776669" y="0"/>
                  <a:pt x="3560852" y="45665"/>
                  <a:pt x="4114393" y="228322"/>
                </a:cubicBezTo>
                <a:cubicBezTo>
                  <a:pt x="4114393" y="1461262"/>
                  <a:pt x="4114393" y="1461262"/>
                  <a:pt x="4114393" y="1461262"/>
                </a:cubicBezTo>
                <a:cubicBezTo>
                  <a:pt x="3653109" y="1187276"/>
                  <a:pt x="2961183" y="1095947"/>
                  <a:pt x="2638284" y="1095947"/>
                </a:cubicBezTo>
                <a:cubicBezTo>
                  <a:pt x="1438946" y="1095947"/>
                  <a:pt x="424121" y="1598256"/>
                  <a:pt x="424121" y="2876860"/>
                </a:cubicBezTo>
                <a:cubicBezTo>
                  <a:pt x="424121" y="3624389"/>
                  <a:pt x="844736" y="4186858"/>
                  <a:pt x="1470511" y="4447217"/>
                </a:cubicBezTo>
                <a:lnTo>
                  <a:pt x="0" y="4447217"/>
                </a:lnTo>
                <a:lnTo>
                  <a:pt x="0" y="612021"/>
                </a:lnTo>
                <a:cubicBezTo>
                  <a:pt x="603422" y="188006"/>
                  <a:pt x="1436951" y="0"/>
                  <a:pt x="24076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9963152" y="462594"/>
            <a:ext cx="1731398" cy="238223"/>
            <a:chOff x="5491163" y="3270250"/>
            <a:chExt cx="2859088" cy="393700"/>
          </a:xfrm>
          <a:solidFill>
            <a:schemeClr val="tx1">
              <a:lumMod val="50000"/>
            </a:schemeClr>
          </a:solidFill>
        </p:grpSpPr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6" name="Freeform 13"/>
            <p:cNvSpPr>
              <a:spLocks/>
            </p:cNvSpPr>
            <p:nvPr userDrawn="1"/>
          </p:nvSpPr>
          <p:spPr bwMode="auto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7" name="Freeform 14"/>
            <p:cNvSpPr>
              <a:spLocks noEditPoints="1"/>
            </p:cNvSpPr>
            <p:nvPr userDrawn="1"/>
          </p:nvSpPr>
          <p:spPr bwMode="auto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8" name="Freeform 15"/>
            <p:cNvSpPr>
              <a:spLocks/>
            </p:cNvSpPr>
            <p:nvPr userDrawn="1"/>
          </p:nvSpPr>
          <p:spPr bwMode="auto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29" name="Freeform 16"/>
            <p:cNvSpPr>
              <a:spLocks noEditPoints="1"/>
            </p:cNvSpPr>
            <p:nvPr userDrawn="1"/>
          </p:nvSpPr>
          <p:spPr bwMode="auto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0" name="Rectangle 17"/>
            <p:cNvSpPr>
              <a:spLocks noChangeArrowheads="1"/>
            </p:cNvSpPr>
            <p:nvPr userDrawn="1"/>
          </p:nvSpPr>
          <p:spPr bwMode="auto">
            <a:xfrm>
              <a:off x="7904163" y="3276600"/>
              <a:ext cx="103188" cy="3825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1" name="Freeform 18"/>
            <p:cNvSpPr>
              <a:spLocks/>
            </p:cNvSpPr>
            <p:nvPr userDrawn="1"/>
          </p:nvSpPr>
          <p:spPr bwMode="auto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32" name="Rectangle 19"/>
            <p:cNvSpPr>
              <a:spLocks noChangeArrowheads="1"/>
            </p:cNvSpPr>
            <p:nvPr userDrawn="1"/>
          </p:nvSpPr>
          <p:spPr bwMode="auto">
            <a:xfrm>
              <a:off x="5491163" y="3276600"/>
              <a:ext cx="382588" cy="382588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002780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796763551"/>
              </p:ext>
            </p:extLst>
          </p:nvPr>
        </p:nvGraphicFramePr>
        <p:xfrm>
          <a:off x="2120" y="2119"/>
          <a:ext cx="2118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" name="think-cell Folie" r:id="rId27" imgW="270" imgH="270" progId="TCLayout.ActiveDocument.1">
                  <p:embed/>
                </p:oleObj>
              </mc:Choice>
              <mc:Fallback>
                <p:oleObj name="think-cell Foli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8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/>
          <p:cNvSpPr/>
          <p:nvPr/>
        </p:nvSpPr>
        <p:spPr bwMode="gray">
          <a:xfrm>
            <a:off x="0" y="6105165"/>
            <a:ext cx="12204700" cy="75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08" tIns="61004" rIns="122008" bIns="61004" spcCol="0" rtlCol="0" anchor="ctr"/>
          <a:lstStyle/>
          <a:p>
            <a:pPr algn="ctr" eaLnBrk="1"/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7825" y="315913"/>
            <a:ext cx="11443359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8484" y="1700253"/>
            <a:ext cx="11442261" cy="15388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700393" y="6579972"/>
            <a:ext cx="3757431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April 2019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700392" y="6421844"/>
            <a:ext cx="3757431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Wasser &amp; Technik </a:t>
            </a:r>
            <a:endParaRPr lang="de-DE" dirty="0"/>
          </a:p>
        </p:txBody>
      </p:sp>
      <p:grpSp>
        <p:nvGrpSpPr>
          <p:cNvPr id="19" name="Gruppieren 18"/>
          <p:cNvGrpSpPr/>
          <p:nvPr/>
        </p:nvGrpSpPr>
        <p:grpSpPr bwMode="gray">
          <a:xfrm>
            <a:off x="10647329" y="6420785"/>
            <a:ext cx="1173855" cy="161511"/>
            <a:chOff x="5491163" y="3270250"/>
            <a:chExt cx="2859088" cy="393700"/>
          </a:xfrm>
        </p:grpSpPr>
        <p:sp>
          <p:nvSpPr>
            <p:cNvPr id="11" name="Freeform 12"/>
            <p:cNvSpPr>
              <a:spLocks/>
            </p:cNvSpPr>
            <p:nvPr userDrawn="1"/>
          </p:nvSpPr>
          <p:spPr bwMode="gray">
            <a:xfrm>
              <a:off x="5983288" y="3270250"/>
              <a:ext cx="366713" cy="393700"/>
            </a:xfrm>
            <a:custGeom>
              <a:avLst/>
              <a:gdLst>
                <a:gd name="T0" fmla="*/ 321 w 462"/>
                <a:gd name="T1" fmla="*/ 0 h 496"/>
                <a:gd name="T2" fmla="*/ 371 w 462"/>
                <a:gd name="T3" fmla="*/ 4 h 496"/>
                <a:gd name="T4" fmla="*/ 424 w 462"/>
                <a:gd name="T5" fmla="*/ 14 h 496"/>
                <a:gd name="T6" fmla="*/ 449 w 462"/>
                <a:gd name="T7" fmla="*/ 127 h 496"/>
                <a:gd name="T8" fmla="*/ 406 w 462"/>
                <a:gd name="T9" fmla="*/ 110 h 496"/>
                <a:gd name="T10" fmla="*/ 360 w 462"/>
                <a:gd name="T11" fmla="*/ 99 h 496"/>
                <a:gd name="T12" fmla="*/ 322 w 462"/>
                <a:gd name="T13" fmla="*/ 95 h 496"/>
                <a:gd name="T14" fmla="*/ 268 w 462"/>
                <a:gd name="T15" fmla="*/ 100 h 496"/>
                <a:gd name="T16" fmla="*/ 218 w 462"/>
                <a:gd name="T17" fmla="*/ 114 h 496"/>
                <a:gd name="T18" fmla="*/ 179 w 462"/>
                <a:gd name="T19" fmla="*/ 138 h 496"/>
                <a:gd name="T20" fmla="*/ 149 w 462"/>
                <a:gd name="T21" fmla="*/ 174 h 496"/>
                <a:gd name="T22" fmla="*/ 134 w 462"/>
                <a:gd name="T23" fmla="*/ 223 h 496"/>
                <a:gd name="T24" fmla="*/ 134 w 462"/>
                <a:gd name="T25" fmla="*/ 282 h 496"/>
                <a:gd name="T26" fmla="*/ 153 w 462"/>
                <a:gd name="T27" fmla="*/ 332 h 496"/>
                <a:gd name="T28" fmla="*/ 188 w 462"/>
                <a:gd name="T29" fmla="*/ 371 h 496"/>
                <a:gd name="T30" fmla="*/ 235 w 462"/>
                <a:gd name="T31" fmla="*/ 395 h 496"/>
                <a:gd name="T32" fmla="*/ 293 w 462"/>
                <a:gd name="T33" fmla="*/ 404 h 496"/>
                <a:gd name="T34" fmla="*/ 339 w 462"/>
                <a:gd name="T35" fmla="*/ 394 h 496"/>
                <a:gd name="T36" fmla="*/ 263 w 462"/>
                <a:gd name="T37" fmla="*/ 298 h 496"/>
                <a:gd name="T38" fmla="*/ 462 w 462"/>
                <a:gd name="T39" fmla="*/ 208 h 496"/>
                <a:gd name="T40" fmla="*/ 422 w 462"/>
                <a:gd name="T41" fmla="*/ 484 h 496"/>
                <a:gd name="T42" fmla="*/ 355 w 462"/>
                <a:gd name="T43" fmla="*/ 494 h 496"/>
                <a:gd name="T44" fmla="*/ 299 w 462"/>
                <a:gd name="T45" fmla="*/ 496 h 496"/>
                <a:gd name="T46" fmla="*/ 248 w 462"/>
                <a:gd name="T47" fmla="*/ 495 h 496"/>
                <a:gd name="T48" fmla="*/ 193 w 462"/>
                <a:gd name="T49" fmla="*/ 487 h 496"/>
                <a:gd name="T50" fmla="*/ 139 w 462"/>
                <a:gd name="T51" fmla="*/ 470 h 496"/>
                <a:gd name="T52" fmla="*/ 90 w 462"/>
                <a:gd name="T53" fmla="*/ 442 h 496"/>
                <a:gd name="T54" fmla="*/ 50 w 462"/>
                <a:gd name="T55" fmla="*/ 404 h 496"/>
                <a:gd name="T56" fmla="*/ 19 w 462"/>
                <a:gd name="T57" fmla="*/ 352 h 496"/>
                <a:gd name="T58" fmla="*/ 2 w 462"/>
                <a:gd name="T59" fmla="*/ 289 h 496"/>
                <a:gd name="T60" fmla="*/ 2 w 462"/>
                <a:gd name="T61" fmla="*/ 212 h 496"/>
                <a:gd name="T62" fmla="*/ 19 w 462"/>
                <a:gd name="T63" fmla="*/ 144 h 496"/>
                <a:gd name="T64" fmla="*/ 52 w 462"/>
                <a:gd name="T65" fmla="*/ 90 h 496"/>
                <a:gd name="T66" fmla="*/ 98 w 462"/>
                <a:gd name="T67" fmla="*/ 49 h 496"/>
                <a:gd name="T68" fmla="*/ 157 w 462"/>
                <a:gd name="T69" fmla="*/ 22 h 496"/>
                <a:gd name="T70" fmla="*/ 225 w 462"/>
                <a:gd name="T71" fmla="*/ 5 h 496"/>
                <a:gd name="T72" fmla="*/ 303 w 462"/>
                <a:gd name="T7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2" h="496">
                  <a:moveTo>
                    <a:pt x="303" y="0"/>
                  </a:moveTo>
                  <a:lnTo>
                    <a:pt x="321" y="0"/>
                  </a:lnTo>
                  <a:lnTo>
                    <a:pt x="344" y="1"/>
                  </a:lnTo>
                  <a:lnTo>
                    <a:pt x="371" y="4"/>
                  </a:lnTo>
                  <a:lnTo>
                    <a:pt x="398" y="8"/>
                  </a:lnTo>
                  <a:lnTo>
                    <a:pt x="424" y="14"/>
                  </a:lnTo>
                  <a:lnTo>
                    <a:pt x="449" y="22"/>
                  </a:lnTo>
                  <a:lnTo>
                    <a:pt x="449" y="127"/>
                  </a:lnTo>
                  <a:lnTo>
                    <a:pt x="428" y="117"/>
                  </a:lnTo>
                  <a:lnTo>
                    <a:pt x="406" y="110"/>
                  </a:lnTo>
                  <a:lnTo>
                    <a:pt x="382" y="103"/>
                  </a:lnTo>
                  <a:lnTo>
                    <a:pt x="360" y="99"/>
                  </a:lnTo>
                  <a:lnTo>
                    <a:pt x="339" y="97"/>
                  </a:lnTo>
                  <a:lnTo>
                    <a:pt x="322" y="95"/>
                  </a:lnTo>
                  <a:lnTo>
                    <a:pt x="294" y="97"/>
                  </a:lnTo>
                  <a:lnTo>
                    <a:pt x="268" y="100"/>
                  </a:lnTo>
                  <a:lnTo>
                    <a:pt x="242" y="105"/>
                  </a:lnTo>
                  <a:lnTo>
                    <a:pt x="218" y="114"/>
                  </a:lnTo>
                  <a:lnTo>
                    <a:pt x="197" y="125"/>
                  </a:lnTo>
                  <a:lnTo>
                    <a:pt x="179" y="138"/>
                  </a:lnTo>
                  <a:lnTo>
                    <a:pt x="162" y="156"/>
                  </a:lnTo>
                  <a:lnTo>
                    <a:pt x="149" y="174"/>
                  </a:lnTo>
                  <a:lnTo>
                    <a:pt x="139" y="198"/>
                  </a:lnTo>
                  <a:lnTo>
                    <a:pt x="134" y="223"/>
                  </a:lnTo>
                  <a:lnTo>
                    <a:pt x="132" y="252"/>
                  </a:lnTo>
                  <a:lnTo>
                    <a:pt x="134" y="282"/>
                  </a:lnTo>
                  <a:lnTo>
                    <a:pt x="142" y="308"/>
                  </a:lnTo>
                  <a:lnTo>
                    <a:pt x="153" y="332"/>
                  </a:lnTo>
                  <a:lnTo>
                    <a:pt x="168" y="353"/>
                  </a:lnTo>
                  <a:lnTo>
                    <a:pt x="188" y="371"/>
                  </a:lnTo>
                  <a:lnTo>
                    <a:pt x="209" y="385"/>
                  </a:lnTo>
                  <a:lnTo>
                    <a:pt x="235" y="395"/>
                  </a:lnTo>
                  <a:lnTo>
                    <a:pt x="263" y="402"/>
                  </a:lnTo>
                  <a:lnTo>
                    <a:pt x="293" y="404"/>
                  </a:lnTo>
                  <a:lnTo>
                    <a:pt x="318" y="401"/>
                  </a:lnTo>
                  <a:lnTo>
                    <a:pt x="339" y="394"/>
                  </a:lnTo>
                  <a:lnTo>
                    <a:pt x="339" y="298"/>
                  </a:lnTo>
                  <a:lnTo>
                    <a:pt x="263" y="298"/>
                  </a:lnTo>
                  <a:lnTo>
                    <a:pt x="263" y="208"/>
                  </a:lnTo>
                  <a:lnTo>
                    <a:pt x="462" y="208"/>
                  </a:lnTo>
                  <a:lnTo>
                    <a:pt x="462" y="474"/>
                  </a:lnTo>
                  <a:lnTo>
                    <a:pt x="422" y="484"/>
                  </a:lnTo>
                  <a:lnTo>
                    <a:pt x="387" y="489"/>
                  </a:lnTo>
                  <a:lnTo>
                    <a:pt x="355" y="494"/>
                  </a:lnTo>
                  <a:lnTo>
                    <a:pt x="326" y="496"/>
                  </a:lnTo>
                  <a:lnTo>
                    <a:pt x="299" y="496"/>
                  </a:lnTo>
                  <a:lnTo>
                    <a:pt x="275" y="496"/>
                  </a:lnTo>
                  <a:lnTo>
                    <a:pt x="248" y="495"/>
                  </a:lnTo>
                  <a:lnTo>
                    <a:pt x="220" y="493"/>
                  </a:lnTo>
                  <a:lnTo>
                    <a:pt x="193" y="487"/>
                  </a:lnTo>
                  <a:lnTo>
                    <a:pt x="166" y="480"/>
                  </a:lnTo>
                  <a:lnTo>
                    <a:pt x="139" y="470"/>
                  </a:lnTo>
                  <a:lnTo>
                    <a:pt x="114" y="458"/>
                  </a:lnTo>
                  <a:lnTo>
                    <a:pt x="90" y="442"/>
                  </a:lnTo>
                  <a:lnTo>
                    <a:pt x="68" y="424"/>
                  </a:lnTo>
                  <a:lnTo>
                    <a:pt x="50" y="404"/>
                  </a:lnTo>
                  <a:lnTo>
                    <a:pt x="32" y="380"/>
                  </a:lnTo>
                  <a:lnTo>
                    <a:pt x="19" y="352"/>
                  </a:lnTo>
                  <a:lnTo>
                    <a:pt x="9" y="323"/>
                  </a:lnTo>
                  <a:lnTo>
                    <a:pt x="2" y="289"/>
                  </a:lnTo>
                  <a:lnTo>
                    <a:pt x="0" y="252"/>
                  </a:lnTo>
                  <a:lnTo>
                    <a:pt x="2" y="212"/>
                  </a:lnTo>
                  <a:lnTo>
                    <a:pt x="9" y="177"/>
                  </a:lnTo>
                  <a:lnTo>
                    <a:pt x="19" y="144"/>
                  </a:lnTo>
                  <a:lnTo>
                    <a:pt x="34" y="115"/>
                  </a:lnTo>
                  <a:lnTo>
                    <a:pt x="52" y="90"/>
                  </a:lnTo>
                  <a:lnTo>
                    <a:pt x="74" y="68"/>
                  </a:lnTo>
                  <a:lnTo>
                    <a:pt x="98" y="49"/>
                  </a:lnTo>
                  <a:lnTo>
                    <a:pt x="126" y="34"/>
                  </a:lnTo>
                  <a:lnTo>
                    <a:pt x="157" y="22"/>
                  </a:lnTo>
                  <a:lnTo>
                    <a:pt x="190" y="12"/>
                  </a:lnTo>
                  <a:lnTo>
                    <a:pt x="225" y="5"/>
                  </a:lnTo>
                  <a:lnTo>
                    <a:pt x="263" y="1"/>
                  </a:lnTo>
                  <a:lnTo>
                    <a:pt x="303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2" name="Freeform 13"/>
            <p:cNvSpPr>
              <a:spLocks/>
            </p:cNvSpPr>
            <p:nvPr userDrawn="1"/>
          </p:nvSpPr>
          <p:spPr bwMode="gray">
            <a:xfrm>
              <a:off x="6437313" y="3276600"/>
              <a:ext cx="273050" cy="382588"/>
            </a:xfrm>
            <a:custGeom>
              <a:avLst/>
              <a:gdLst>
                <a:gd name="T0" fmla="*/ 0 w 344"/>
                <a:gd name="T1" fmla="*/ 0 h 481"/>
                <a:gd name="T2" fmla="*/ 336 w 344"/>
                <a:gd name="T3" fmla="*/ 0 h 481"/>
                <a:gd name="T4" fmla="*/ 336 w 344"/>
                <a:gd name="T5" fmla="*/ 93 h 481"/>
                <a:gd name="T6" fmla="*/ 127 w 344"/>
                <a:gd name="T7" fmla="*/ 93 h 481"/>
                <a:gd name="T8" fmla="*/ 127 w 344"/>
                <a:gd name="T9" fmla="*/ 191 h 481"/>
                <a:gd name="T10" fmla="*/ 324 w 344"/>
                <a:gd name="T11" fmla="*/ 191 h 481"/>
                <a:gd name="T12" fmla="*/ 324 w 344"/>
                <a:gd name="T13" fmla="*/ 281 h 481"/>
                <a:gd name="T14" fmla="*/ 127 w 344"/>
                <a:gd name="T15" fmla="*/ 281 h 481"/>
                <a:gd name="T16" fmla="*/ 127 w 344"/>
                <a:gd name="T17" fmla="*/ 390 h 481"/>
                <a:gd name="T18" fmla="*/ 344 w 344"/>
                <a:gd name="T19" fmla="*/ 390 h 481"/>
                <a:gd name="T20" fmla="*/ 344 w 344"/>
                <a:gd name="T21" fmla="*/ 481 h 481"/>
                <a:gd name="T22" fmla="*/ 0 w 344"/>
                <a:gd name="T23" fmla="*/ 481 h 481"/>
                <a:gd name="T24" fmla="*/ 0 w 344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4" h="481">
                  <a:moveTo>
                    <a:pt x="0" y="0"/>
                  </a:moveTo>
                  <a:lnTo>
                    <a:pt x="336" y="0"/>
                  </a:lnTo>
                  <a:lnTo>
                    <a:pt x="336" y="93"/>
                  </a:lnTo>
                  <a:lnTo>
                    <a:pt x="127" y="93"/>
                  </a:lnTo>
                  <a:lnTo>
                    <a:pt x="127" y="191"/>
                  </a:lnTo>
                  <a:lnTo>
                    <a:pt x="324" y="191"/>
                  </a:lnTo>
                  <a:lnTo>
                    <a:pt x="324" y="281"/>
                  </a:lnTo>
                  <a:lnTo>
                    <a:pt x="127" y="281"/>
                  </a:lnTo>
                  <a:lnTo>
                    <a:pt x="127" y="390"/>
                  </a:lnTo>
                  <a:lnTo>
                    <a:pt x="344" y="390"/>
                  </a:lnTo>
                  <a:lnTo>
                    <a:pt x="344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3" name="Freeform 14"/>
            <p:cNvSpPr>
              <a:spLocks noEditPoints="1"/>
            </p:cNvSpPr>
            <p:nvPr userDrawn="1"/>
          </p:nvSpPr>
          <p:spPr bwMode="gray">
            <a:xfrm>
              <a:off x="6786563" y="3276600"/>
              <a:ext cx="307975" cy="382588"/>
            </a:xfrm>
            <a:custGeom>
              <a:avLst/>
              <a:gdLst>
                <a:gd name="T0" fmla="*/ 127 w 388"/>
                <a:gd name="T1" fmla="*/ 390 h 481"/>
                <a:gd name="T2" fmla="*/ 183 w 388"/>
                <a:gd name="T3" fmla="*/ 390 h 481"/>
                <a:gd name="T4" fmla="*/ 217 w 388"/>
                <a:gd name="T5" fmla="*/ 386 h 481"/>
                <a:gd name="T6" fmla="*/ 243 w 388"/>
                <a:gd name="T7" fmla="*/ 374 h 481"/>
                <a:gd name="T8" fmla="*/ 258 w 388"/>
                <a:gd name="T9" fmla="*/ 351 h 481"/>
                <a:gd name="T10" fmla="*/ 259 w 388"/>
                <a:gd name="T11" fmla="*/ 319 h 481"/>
                <a:gd name="T12" fmla="*/ 246 w 388"/>
                <a:gd name="T13" fmla="*/ 297 h 481"/>
                <a:gd name="T14" fmla="*/ 223 w 388"/>
                <a:gd name="T15" fmla="*/ 285 h 481"/>
                <a:gd name="T16" fmla="*/ 196 w 388"/>
                <a:gd name="T17" fmla="*/ 280 h 481"/>
                <a:gd name="T18" fmla="*/ 166 w 388"/>
                <a:gd name="T19" fmla="*/ 278 h 481"/>
                <a:gd name="T20" fmla="*/ 127 w 388"/>
                <a:gd name="T21" fmla="*/ 93 h 481"/>
                <a:gd name="T22" fmla="*/ 163 w 388"/>
                <a:gd name="T23" fmla="*/ 191 h 481"/>
                <a:gd name="T24" fmla="*/ 194 w 388"/>
                <a:gd name="T25" fmla="*/ 188 h 481"/>
                <a:gd name="T26" fmla="*/ 221 w 388"/>
                <a:gd name="T27" fmla="*/ 180 h 481"/>
                <a:gd name="T28" fmla="*/ 241 w 388"/>
                <a:gd name="T29" fmla="*/ 164 h 481"/>
                <a:gd name="T30" fmla="*/ 248 w 388"/>
                <a:gd name="T31" fmla="*/ 139 h 481"/>
                <a:gd name="T32" fmla="*/ 242 w 388"/>
                <a:gd name="T33" fmla="*/ 113 h 481"/>
                <a:gd name="T34" fmla="*/ 222 w 388"/>
                <a:gd name="T35" fmla="*/ 100 h 481"/>
                <a:gd name="T36" fmla="*/ 195 w 388"/>
                <a:gd name="T37" fmla="*/ 93 h 481"/>
                <a:gd name="T38" fmla="*/ 163 w 388"/>
                <a:gd name="T39" fmla="*/ 93 h 481"/>
                <a:gd name="T40" fmla="*/ 0 w 388"/>
                <a:gd name="T41" fmla="*/ 0 h 481"/>
                <a:gd name="T42" fmla="*/ 248 w 388"/>
                <a:gd name="T43" fmla="*/ 1 h 481"/>
                <a:gd name="T44" fmla="*/ 300 w 388"/>
                <a:gd name="T45" fmla="*/ 13 h 481"/>
                <a:gd name="T46" fmla="*/ 340 w 388"/>
                <a:gd name="T47" fmla="*/ 38 h 481"/>
                <a:gd name="T48" fmla="*/ 367 w 388"/>
                <a:gd name="T49" fmla="*/ 74 h 481"/>
                <a:gd name="T50" fmla="*/ 376 w 388"/>
                <a:gd name="T51" fmla="*/ 121 h 481"/>
                <a:gd name="T52" fmla="*/ 368 w 388"/>
                <a:gd name="T53" fmla="*/ 168 h 481"/>
                <a:gd name="T54" fmla="*/ 346 w 388"/>
                <a:gd name="T55" fmla="*/ 202 h 481"/>
                <a:gd name="T56" fmla="*/ 312 w 388"/>
                <a:gd name="T57" fmla="*/ 226 h 481"/>
                <a:gd name="T58" fmla="*/ 290 w 388"/>
                <a:gd name="T59" fmla="*/ 237 h 481"/>
                <a:gd name="T60" fmla="*/ 338 w 388"/>
                <a:gd name="T61" fmla="*/ 252 h 481"/>
                <a:gd name="T62" fmla="*/ 370 w 388"/>
                <a:gd name="T63" fmla="*/ 280 h 481"/>
                <a:gd name="T64" fmla="*/ 385 w 388"/>
                <a:gd name="T65" fmla="*/ 318 h 481"/>
                <a:gd name="T66" fmla="*/ 385 w 388"/>
                <a:gd name="T67" fmla="*/ 368 h 481"/>
                <a:gd name="T68" fmla="*/ 371 w 388"/>
                <a:gd name="T69" fmla="*/ 412 h 481"/>
                <a:gd name="T70" fmla="*/ 344 w 388"/>
                <a:gd name="T71" fmla="*/ 443 h 481"/>
                <a:gd name="T72" fmla="*/ 309 w 388"/>
                <a:gd name="T73" fmla="*/ 464 h 481"/>
                <a:gd name="T74" fmla="*/ 267 w 388"/>
                <a:gd name="T75" fmla="*/ 476 h 481"/>
                <a:gd name="T76" fmla="*/ 224 w 388"/>
                <a:gd name="T77" fmla="*/ 480 h 481"/>
                <a:gd name="T78" fmla="*/ 0 w 388"/>
                <a:gd name="T7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8" h="481">
                  <a:moveTo>
                    <a:pt x="127" y="278"/>
                  </a:moveTo>
                  <a:lnTo>
                    <a:pt x="127" y="390"/>
                  </a:lnTo>
                  <a:lnTo>
                    <a:pt x="166" y="390"/>
                  </a:lnTo>
                  <a:lnTo>
                    <a:pt x="183" y="390"/>
                  </a:lnTo>
                  <a:lnTo>
                    <a:pt x="200" y="389"/>
                  </a:lnTo>
                  <a:lnTo>
                    <a:pt x="217" y="386"/>
                  </a:lnTo>
                  <a:lnTo>
                    <a:pt x="231" y="380"/>
                  </a:lnTo>
                  <a:lnTo>
                    <a:pt x="243" y="374"/>
                  </a:lnTo>
                  <a:lnTo>
                    <a:pt x="253" y="364"/>
                  </a:lnTo>
                  <a:lnTo>
                    <a:pt x="258" y="351"/>
                  </a:lnTo>
                  <a:lnTo>
                    <a:pt x="260" y="334"/>
                  </a:lnTo>
                  <a:lnTo>
                    <a:pt x="259" y="319"/>
                  </a:lnTo>
                  <a:lnTo>
                    <a:pt x="254" y="307"/>
                  </a:lnTo>
                  <a:lnTo>
                    <a:pt x="246" y="297"/>
                  </a:lnTo>
                  <a:lnTo>
                    <a:pt x="235" y="289"/>
                  </a:lnTo>
                  <a:lnTo>
                    <a:pt x="223" y="285"/>
                  </a:lnTo>
                  <a:lnTo>
                    <a:pt x="210" y="282"/>
                  </a:lnTo>
                  <a:lnTo>
                    <a:pt x="196" y="280"/>
                  </a:lnTo>
                  <a:lnTo>
                    <a:pt x="180" y="278"/>
                  </a:lnTo>
                  <a:lnTo>
                    <a:pt x="166" y="278"/>
                  </a:lnTo>
                  <a:lnTo>
                    <a:pt x="127" y="278"/>
                  </a:lnTo>
                  <a:close/>
                  <a:moveTo>
                    <a:pt x="127" y="93"/>
                  </a:moveTo>
                  <a:lnTo>
                    <a:pt x="127" y="191"/>
                  </a:lnTo>
                  <a:lnTo>
                    <a:pt x="163" y="191"/>
                  </a:lnTo>
                  <a:lnTo>
                    <a:pt x="178" y="190"/>
                  </a:lnTo>
                  <a:lnTo>
                    <a:pt x="194" y="188"/>
                  </a:lnTo>
                  <a:lnTo>
                    <a:pt x="209" y="185"/>
                  </a:lnTo>
                  <a:lnTo>
                    <a:pt x="221" y="180"/>
                  </a:lnTo>
                  <a:lnTo>
                    <a:pt x="233" y="173"/>
                  </a:lnTo>
                  <a:lnTo>
                    <a:pt x="241" y="164"/>
                  </a:lnTo>
                  <a:lnTo>
                    <a:pt x="246" y="153"/>
                  </a:lnTo>
                  <a:lnTo>
                    <a:pt x="248" y="139"/>
                  </a:lnTo>
                  <a:lnTo>
                    <a:pt x="247" y="125"/>
                  </a:lnTo>
                  <a:lnTo>
                    <a:pt x="242" y="113"/>
                  </a:lnTo>
                  <a:lnTo>
                    <a:pt x="233" y="105"/>
                  </a:lnTo>
                  <a:lnTo>
                    <a:pt x="222" y="100"/>
                  </a:lnTo>
                  <a:lnTo>
                    <a:pt x="210" y="95"/>
                  </a:lnTo>
                  <a:lnTo>
                    <a:pt x="195" y="93"/>
                  </a:lnTo>
                  <a:lnTo>
                    <a:pt x="179" y="93"/>
                  </a:lnTo>
                  <a:lnTo>
                    <a:pt x="163" y="93"/>
                  </a:lnTo>
                  <a:lnTo>
                    <a:pt x="127" y="93"/>
                  </a:lnTo>
                  <a:close/>
                  <a:moveTo>
                    <a:pt x="0" y="0"/>
                  </a:moveTo>
                  <a:lnTo>
                    <a:pt x="219" y="0"/>
                  </a:lnTo>
                  <a:lnTo>
                    <a:pt x="248" y="1"/>
                  </a:lnTo>
                  <a:lnTo>
                    <a:pt x="276" y="5"/>
                  </a:lnTo>
                  <a:lnTo>
                    <a:pt x="300" y="13"/>
                  </a:lnTo>
                  <a:lnTo>
                    <a:pt x="322" y="24"/>
                  </a:lnTo>
                  <a:lnTo>
                    <a:pt x="340" y="38"/>
                  </a:lnTo>
                  <a:lnTo>
                    <a:pt x="355" y="55"/>
                  </a:lnTo>
                  <a:lnTo>
                    <a:pt x="367" y="74"/>
                  </a:lnTo>
                  <a:lnTo>
                    <a:pt x="373" y="96"/>
                  </a:lnTo>
                  <a:lnTo>
                    <a:pt x="376" y="121"/>
                  </a:lnTo>
                  <a:lnTo>
                    <a:pt x="373" y="147"/>
                  </a:lnTo>
                  <a:lnTo>
                    <a:pt x="368" y="168"/>
                  </a:lnTo>
                  <a:lnTo>
                    <a:pt x="359" y="186"/>
                  </a:lnTo>
                  <a:lnTo>
                    <a:pt x="346" y="202"/>
                  </a:lnTo>
                  <a:lnTo>
                    <a:pt x="331" y="215"/>
                  </a:lnTo>
                  <a:lnTo>
                    <a:pt x="312" y="226"/>
                  </a:lnTo>
                  <a:lnTo>
                    <a:pt x="290" y="235"/>
                  </a:lnTo>
                  <a:lnTo>
                    <a:pt x="290" y="237"/>
                  </a:lnTo>
                  <a:lnTo>
                    <a:pt x="316" y="243"/>
                  </a:lnTo>
                  <a:lnTo>
                    <a:pt x="338" y="252"/>
                  </a:lnTo>
                  <a:lnTo>
                    <a:pt x="356" y="264"/>
                  </a:lnTo>
                  <a:lnTo>
                    <a:pt x="370" y="280"/>
                  </a:lnTo>
                  <a:lnTo>
                    <a:pt x="380" y="297"/>
                  </a:lnTo>
                  <a:lnTo>
                    <a:pt x="385" y="318"/>
                  </a:lnTo>
                  <a:lnTo>
                    <a:pt x="388" y="342"/>
                  </a:lnTo>
                  <a:lnTo>
                    <a:pt x="385" y="368"/>
                  </a:lnTo>
                  <a:lnTo>
                    <a:pt x="380" y="391"/>
                  </a:lnTo>
                  <a:lnTo>
                    <a:pt x="371" y="412"/>
                  </a:lnTo>
                  <a:lnTo>
                    <a:pt x="359" y="429"/>
                  </a:lnTo>
                  <a:lnTo>
                    <a:pt x="344" y="443"/>
                  </a:lnTo>
                  <a:lnTo>
                    <a:pt x="327" y="454"/>
                  </a:lnTo>
                  <a:lnTo>
                    <a:pt x="309" y="464"/>
                  </a:lnTo>
                  <a:lnTo>
                    <a:pt x="288" y="470"/>
                  </a:lnTo>
                  <a:lnTo>
                    <a:pt x="267" y="476"/>
                  </a:lnTo>
                  <a:lnTo>
                    <a:pt x="246" y="479"/>
                  </a:lnTo>
                  <a:lnTo>
                    <a:pt x="224" y="480"/>
                  </a:lnTo>
                  <a:lnTo>
                    <a:pt x="202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4" name="Freeform 15"/>
            <p:cNvSpPr>
              <a:spLocks/>
            </p:cNvSpPr>
            <p:nvPr userDrawn="1"/>
          </p:nvSpPr>
          <p:spPr bwMode="gray">
            <a:xfrm>
              <a:off x="7169151" y="3276600"/>
              <a:ext cx="274638" cy="382588"/>
            </a:xfrm>
            <a:custGeom>
              <a:avLst/>
              <a:gdLst>
                <a:gd name="T0" fmla="*/ 0 w 346"/>
                <a:gd name="T1" fmla="*/ 0 h 481"/>
                <a:gd name="T2" fmla="*/ 338 w 346"/>
                <a:gd name="T3" fmla="*/ 0 h 481"/>
                <a:gd name="T4" fmla="*/ 338 w 346"/>
                <a:gd name="T5" fmla="*/ 93 h 481"/>
                <a:gd name="T6" fmla="*/ 129 w 346"/>
                <a:gd name="T7" fmla="*/ 93 h 481"/>
                <a:gd name="T8" fmla="*/ 129 w 346"/>
                <a:gd name="T9" fmla="*/ 191 h 481"/>
                <a:gd name="T10" fmla="*/ 326 w 346"/>
                <a:gd name="T11" fmla="*/ 191 h 481"/>
                <a:gd name="T12" fmla="*/ 326 w 346"/>
                <a:gd name="T13" fmla="*/ 281 h 481"/>
                <a:gd name="T14" fmla="*/ 129 w 346"/>
                <a:gd name="T15" fmla="*/ 281 h 481"/>
                <a:gd name="T16" fmla="*/ 129 w 346"/>
                <a:gd name="T17" fmla="*/ 390 h 481"/>
                <a:gd name="T18" fmla="*/ 346 w 346"/>
                <a:gd name="T19" fmla="*/ 390 h 481"/>
                <a:gd name="T20" fmla="*/ 346 w 346"/>
                <a:gd name="T21" fmla="*/ 481 h 481"/>
                <a:gd name="T22" fmla="*/ 0 w 346"/>
                <a:gd name="T23" fmla="*/ 481 h 481"/>
                <a:gd name="T24" fmla="*/ 0 w 346"/>
                <a:gd name="T25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6" h="481">
                  <a:moveTo>
                    <a:pt x="0" y="0"/>
                  </a:moveTo>
                  <a:lnTo>
                    <a:pt x="338" y="0"/>
                  </a:lnTo>
                  <a:lnTo>
                    <a:pt x="338" y="93"/>
                  </a:lnTo>
                  <a:lnTo>
                    <a:pt x="129" y="93"/>
                  </a:lnTo>
                  <a:lnTo>
                    <a:pt x="129" y="191"/>
                  </a:lnTo>
                  <a:lnTo>
                    <a:pt x="326" y="191"/>
                  </a:lnTo>
                  <a:lnTo>
                    <a:pt x="326" y="281"/>
                  </a:lnTo>
                  <a:lnTo>
                    <a:pt x="129" y="281"/>
                  </a:lnTo>
                  <a:lnTo>
                    <a:pt x="129" y="390"/>
                  </a:lnTo>
                  <a:lnTo>
                    <a:pt x="346" y="390"/>
                  </a:lnTo>
                  <a:lnTo>
                    <a:pt x="346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5" name="Freeform 16"/>
            <p:cNvSpPr>
              <a:spLocks noEditPoints="1"/>
            </p:cNvSpPr>
            <p:nvPr userDrawn="1"/>
          </p:nvSpPr>
          <p:spPr bwMode="gray">
            <a:xfrm>
              <a:off x="7519988" y="3276600"/>
              <a:ext cx="320675" cy="382588"/>
            </a:xfrm>
            <a:custGeom>
              <a:avLst/>
              <a:gdLst>
                <a:gd name="T0" fmla="*/ 130 w 406"/>
                <a:gd name="T1" fmla="*/ 93 h 481"/>
                <a:gd name="T2" fmla="*/ 130 w 406"/>
                <a:gd name="T3" fmla="*/ 200 h 481"/>
                <a:gd name="T4" fmla="*/ 161 w 406"/>
                <a:gd name="T5" fmla="*/ 200 h 481"/>
                <a:gd name="T6" fmla="*/ 176 w 406"/>
                <a:gd name="T7" fmla="*/ 199 h 481"/>
                <a:gd name="T8" fmla="*/ 190 w 406"/>
                <a:gd name="T9" fmla="*/ 199 h 481"/>
                <a:gd name="T10" fmla="*/ 204 w 406"/>
                <a:gd name="T11" fmla="*/ 198 h 481"/>
                <a:gd name="T12" fmla="*/ 218 w 406"/>
                <a:gd name="T13" fmla="*/ 195 h 481"/>
                <a:gd name="T14" fmla="*/ 230 w 406"/>
                <a:gd name="T15" fmla="*/ 191 h 481"/>
                <a:gd name="T16" fmla="*/ 241 w 406"/>
                <a:gd name="T17" fmla="*/ 183 h 481"/>
                <a:gd name="T18" fmla="*/ 249 w 406"/>
                <a:gd name="T19" fmla="*/ 173 h 481"/>
                <a:gd name="T20" fmla="*/ 255 w 406"/>
                <a:gd name="T21" fmla="*/ 161 h 481"/>
                <a:gd name="T22" fmla="*/ 257 w 406"/>
                <a:gd name="T23" fmla="*/ 143 h 481"/>
                <a:gd name="T24" fmla="*/ 255 w 406"/>
                <a:gd name="T25" fmla="*/ 129 h 481"/>
                <a:gd name="T26" fmla="*/ 249 w 406"/>
                <a:gd name="T27" fmla="*/ 117 h 481"/>
                <a:gd name="T28" fmla="*/ 239 w 406"/>
                <a:gd name="T29" fmla="*/ 108 h 481"/>
                <a:gd name="T30" fmla="*/ 227 w 406"/>
                <a:gd name="T31" fmla="*/ 102 h 481"/>
                <a:gd name="T32" fmla="*/ 213 w 406"/>
                <a:gd name="T33" fmla="*/ 97 h 481"/>
                <a:gd name="T34" fmla="*/ 196 w 406"/>
                <a:gd name="T35" fmla="*/ 94 h 481"/>
                <a:gd name="T36" fmla="*/ 179 w 406"/>
                <a:gd name="T37" fmla="*/ 93 h 481"/>
                <a:gd name="T38" fmla="*/ 161 w 406"/>
                <a:gd name="T39" fmla="*/ 93 h 481"/>
                <a:gd name="T40" fmla="*/ 130 w 406"/>
                <a:gd name="T41" fmla="*/ 93 h 481"/>
                <a:gd name="T42" fmla="*/ 0 w 406"/>
                <a:gd name="T43" fmla="*/ 0 h 481"/>
                <a:gd name="T44" fmla="*/ 229 w 406"/>
                <a:gd name="T45" fmla="*/ 0 h 481"/>
                <a:gd name="T46" fmla="*/ 258 w 406"/>
                <a:gd name="T47" fmla="*/ 1 h 481"/>
                <a:gd name="T48" fmla="*/ 283 w 406"/>
                <a:gd name="T49" fmla="*/ 5 h 481"/>
                <a:gd name="T50" fmla="*/ 307 w 406"/>
                <a:gd name="T51" fmla="*/ 13 h 481"/>
                <a:gd name="T52" fmla="*/ 329 w 406"/>
                <a:gd name="T53" fmla="*/ 23 h 481"/>
                <a:gd name="T54" fmla="*/ 348 w 406"/>
                <a:gd name="T55" fmla="*/ 37 h 481"/>
                <a:gd name="T56" fmla="*/ 363 w 406"/>
                <a:gd name="T57" fmla="*/ 53 h 481"/>
                <a:gd name="T58" fmla="*/ 374 w 406"/>
                <a:gd name="T59" fmla="*/ 73 h 481"/>
                <a:gd name="T60" fmla="*/ 381 w 406"/>
                <a:gd name="T61" fmla="*/ 95 h 481"/>
                <a:gd name="T62" fmla="*/ 384 w 406"/>
                <a:gd name="T63" fmla="*/ 121 h 481"/>
                <a:gd name="T64" fmla="*/ 382 w 406"/>
                <a:gd name="T65" fmla="*/ 148 h 481"/>
                <a:gd name="T66" fmla="*/ 376 w 406"/>
                <a:gd name="T67" fmla="*/ 171 h 481"/>
                <a:gd name="T68" fmla="*/ 367 w 406"/>
                <a:gd name="T69" fmla="*/ 192 h 481"/>
                <a:gd name="T70" fmla="*/ 354 w 406"/>
                <a:gd name="T71" fmla="*/ 209 h 481"/>
                <a:gd name="T72" fmla="*/ 337 w 406"/>
                <a:gd name="T73" fmla="*/ 225 h 481"/>
                <a:gd name="T74" fmla="*/ 316 w 406"/>
                <a:gd name="T75" fmla="*/ 236 h 481"/>
                <a:gd name="T76" fmla="*/ 291 w 406"/>
                <a:gd name="T77" fmla="*/ 244 h 481"/>
                <a:gd name="T78" fmla="*/ 306 w 406"/>
                <a:gd name="T79" fmla="*/ 251 h 481"/>
                <a:gd name="T80" fmla="*/ 318 w 406"/>
                <a:gd name="T81" fmla="*/ 261 h 481"/>
                <a:gd name="T82" fmla="*/ 327 w 406"/>
                <a:gd name="T83" fmla="*/ 273 h 481"/>
                <a:gd name="T84" fmla="*/ 335 w 406"/>
                <a:gd name="T85" fmla="*/ 288 h 481"/>
                <a:gd name="T86" fmla="*/ 342 w 406"/>
                <a:gd name="T87" fmla="*/ 307 h 481"/>
                <a:gd name="T88" fmla="*/ 350 w 406"/>
                <a:gd name="T89" fmla="*/ 328 h 481"/>
                <a:gd name="T90" fmla="*/ 359 w 406"/>
                <a:gd name="T91" fmla="*/ 352 h 481"/>
                <a:gd name="T92" fmla="*/ 406 w 406"/>
                <a:gd name="T93" fmla="*/ 481 h 481"/>
                <a:gd name="T94" fmla="*/ 273 w 406"/>
                <a:gd name="T95" fmla="*/ 481 h 481"/>
                <a:gd name="T96" fmla="*/ 245 w 406"/>
                <a:gd name="T97" fmla="*/ 396 h 481"/>
                <a:gd name="T98" fmla="*/ 234 w 406"/>
                <a:gd name="T99" fmla="*/ 364 h 481"/>
                <a:gd name="T100" fmla="*/ 224 w 406"/>
                <a:gd name="T101" fmla="*/ 339 h 481"/>
                <a:gd name="T102" fmla="*/ 214 w 406"/>
                <a:gd name="T103" fmla="*/ 319 h 481"/>
                <a:gd name="T104" fmla="*/ 203 w 406"/>
                <a:gd name="T105" fmla="*/ 306 h 481"/>
                <a:gd name="T106" fmla="*/ 190 w 406"/>
                <a:gd name="T107" fmla="*/ 297 h 481"/>
                <a:gd name="T108" fmla="*/ 175 w 406"/>
                <a:gd name="T109" fmla="*/ 292 h 481"/>
                <a:gd name="T110" fmla="*/ 156 w 406"/>
                <a:gd name="T111" fmla="*/ 290 h 481"/>
                <a:gd name="T112" fmla="*/ 130 w 406"/>
                <a:gd name="T113" fmla="*/ 290 h 481"/>
                <a:gd name="T114" fmla="*/ 130 w 406"/>
                <a:gd name="T115" fmla="*/ 481 h 481"/>
                <a:gd name="T116" fmla="*/ 0 w 406"/>
                <a:gd name="T117" fmla="*/ 481 h 481"/>
                <a:gd name="T118" fmla="*/ 0 w 406"/>
                <a:gd name="T11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6" h="481">
                  <a:moveTo>
                    <a:pt x="130" y="93"/>
                  </a:moveTo>
                  <a:lnTo>
                    <a:pt x="130" y="200"/>
                  </a:lnTo>
                  <a:lnTo>
                    <a:pt x="161" y="200"/>
                  </a:lnTo>
                  <a:lnTo>
                    <a:pt x="176" y="199"/>
                  </a:lnTo>
                  <a:lnTo>
                    <a:pt x="190" y="199"/>
                  </a:lnTo>
                  <a:lnTo>
                    <a:pt x="204" y="198"/>
                  </a:lnTo>
                  <a:lnTo>
                    <a:pt x="218" y="195"/>
                  </a:lnTo>
                  <a:lnTo>
                    <a:pt x="230" y="191"/>
                  </a:lnTo>
                  <a:lnTo>
                    <a:pt x="241" y="183"/>
                  </a:lnTo>
                  <a:lnTo>
                    <a:pt x="249" y="173"/>
                  </a:lnTo>
                  <a:lnTo>
                    <a:pt x="255" y="161"/>
                  </a:lnTo>
                  <a:lnTo>
                    <a:pt x="257" y="143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39" y="108"/>
                  </a:lnTo>
                  <a:lnTo>
                    <a:pt x="227" y="102"/>
                  </a:lnTo>
                  <a:lnTo>
                    <a:pt x="213" y="97"/>
                  </a:lnTo>
                  <a:lnTo>
                    <a:pt x="196" y="94"/>
                  </a:lnTo>
                  <a:lnTo>
                    <a:pt x="179" y="93"/>
                  </a:lnTo>
                  <a:lnTo>
                    <a:pt x="161" y="93"/>
                  </a:lnTo>
                  <a:lnTo>
                    <a:pt x="130" y="93"/>
                  </a:lnTo>
                  <a:close/>
                  <a:moveTo>
                    <a:pt x="0" y="0"/>
                  </a:moveTo>
                  <a:lnTo>
                    <a:pt x="229" y="0"/>
                  </a:lnTo>
                  <a:lnTo>
                    <a:pt x="258" y="1"/>
                  </a:lnTo>
                  <a:lnTo>
                    <a:pt x="283" y="5"/>
                  </a:lnTo>
                  <a:lnTo>
                    <a:pt x="307" y="13"/>
                  </a:lnTo>
                  <a:lnTo>
                    <a:pt x="329" y="23"/>
                  </a:lnTo>
                  <a:lnTo>
                    <a:pt x="348" y="37"/>
                  </a:lnTo>
                  <a:lnTo>
                    <a:pt x="363" y="53"/>
                  </a:lnTo>
                  <a:lnTo>
                    <a:pt x="374" y="73"/>
                  </a:lnTo>
                  <a:lnTo>
                    <a:pt x="381" y="95"/>
                  </a:lnTo>
                  <a:lnTo>
                    <a:pt x="384" y="121"/>
                  </a:lnTo>
                  <a:lnTo>
                    <a:pt x="382" y="148"/>
                  </a:lnTo>
                  <a:lnTo>
                    <a:pt x="376" y="171"/>
                  </a:lnTo>
                  <a:lnTo>
                    <a:pt x="367" y="192"/>
                  </a:lnTo>
                  <a:lnTo>
                    <a:pt x="354" y="209"/>
                  </a:lnTo>
                  <a:lnTo>
                    <a:pt x="337" y="225"/>
                  </a:lnTo>
                  <a:lnTo>
                    <a:pt x="316" y="236"/>
                  </a:lnTo>
                  <a:lnTo>
                    <a:pt x="291" y="244"/>
                  </a:lnTo>
                  <a:lnTo>
                    <a:pt x="306" y="251"/>
                  </a:lnTo>
                  <a:lnTo>
                    <a:pt x="318" y="261"/>
                  </a:lnTo>
                  <a:lnTo>
                    <a:pt x="327" y="273"/>
                  </a:lnTo>
                  <a:lnTo>
                    <a:pt x="335" y="288"/>
                  </a:lnTo>
                  <a:lnTo>
                    <a:pt x="342" y="307"/>
                  </a:lnTo>
                  <a:lnTo>
                    <a:pt x="350" y="328"/>
                  </a:lnTo>
                  <a:lnTo>
                    <a:pt x="359" y="352"/>
                  </a:lnTo>
                  <a:lnTo>
                    <a:pt x="406" y="481"/>
                  </a:lnTo>
                  <a:lnTo>
                    <a:pt x="273" y="481"/>
                  </a:lnTo>
                  <a:lnTo>
                    <a:pt x="245" y="396"/>
                  </a:lnTo>
                  <a:lnTo>
                    <a:pt x="234" y="364"/>
                  </a:lnTo>
                  <a:lnTo>
                    <a:pt x="224" y="339"/>
                  </a:lnTo>
                  <a:lnTo>
                    <a:pt x="214" y="319"/>
                  </a:lnTo>
                  <a:lnTo>
                    <a:pt x="203" y="306"/>
                  </a:lnTo>
                  <a:lnTo>
                    <a:pt x="190" y="297"/>
                  </a:lnTo>
                  <a:lnTo>
                    <a:pt x="175" y="292"/>
                  </a:lnTo>
                  <a:lnTo>
                    <a:pt x="156" y="290"/>
                  </a:lnTo>
                  <a:lnTo>
                    <a:pt x="130" y="290"/>
                  </a:lnTo>
                  <a:lnTo>
                    <a:pt x="130" y="481"/>
                  </a:lnTo>
                  <a:lnTo>
                    <a:pt x="0" y="4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6" name="Rectangle 17"/>
            <p:cNvSpPr>
              <a:spLocks noChangeArrowheads="1"/>
            </p:cNvSpPr>
            <p:nvPr userDrawn="1"/>
          </p:nvSpPr>
          <p:spPr bwMode="gray">
            <a:xfrm>
              <a:off x="7904163" y="3276600"/>
              <a:ext cx="103188" cy="382588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gray">
            <a:xfrm>
              <a:off x="8062913" y="3276600"/>
              <a:ext cx="287338" cy="382588"/>
            </a:xfrm>
            <a:custGeom>
              <a:avLst/>
              <a:gdLst>
                <a:gd name="T0" fmla="*/ 0 w 363"/>
                <a:gd name="T1" fmla="*/ 0 h 481"/>
                <a:gd name="T2" fmla="*/ 363 w 363"/>
                <a:gd name="T3" fmla="*/ 0 h 481"/>
                <a:gd name="T4" fmla="*/ 363 w 363"/>
                <a:gd name="T5" fmla="*/ 95 h 481"/>
                <a:gd name="T6" fmla="*/ 247 w 363"/>
                <a:gd name="T7" fmla="*/ 95 h 481"/>
                <a:gd name="T8" fmla="*/ 247 w 363"/>
                <a:gd name="T9" fmla="*/ 481 h 481"/>
                <a:gd name="T10" fmla="*/ 119 w 363"/>
                <a:gd name="T11" fmla="*/ 481 h 481"/>
                <a:gd name="T12" fmla="*/ 119 w 363"/>
                <a:gd name="T13" fmla="*/ 95 h 481"/>
                <a:gd name="T14" fmla="*/ 0 w 363"/>
                <a:gd name="T15" fmla="*/ 95 h 481"/>
                <a:gd name="T16" fmla="*/ 0 w 363"/>
                <a:gd name="T17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481">
                  <a:moveTo>
                    <a:pt x="0" y="0"/>
                  </a:moveTo>
                  <a:lnTo>
                    <a:pt x="363" y="0"/>
                  </a:lnTo>
                  <a:lnTo>
                    <a:pt x="363" y="95"/>
                  </a:lnTo>
                  <a:lnTo>
                    <a:pt x="247" y="95"/>
                  </a:lnTo>
                  <a:lnTo>
                    <a:pt x="247" y="481"/>
                  </a:lnTo>
                  <a:lnTo>
                    <a:pt x="119" y="481"/>
                  </a:lnTo>
                  <a:lnTo>
                    <a:pt x="119" y="95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  <p:sp>
          <p:nvSpPr>
            <p:cNvPr id="18" name="Rectangle 19"/>
            <p:cNvSpPr>
              <a:spLocks noChangeArrowheads="1"/>
            </p:cNvSpPr>
            <p:nvPr userDrawn="1"/>
          </p:nvSpPr>
          <p:spPr bwMode="gray">
            <a:xfrm>
              <a:off x="5491163" y="3276600"/>
              <a:ext cx="382588" cy="382588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dirty="0"/>
            </a:p>
          </p:txBody>
        </p:sp>
      </p:grpSp>
      <p:sp>
        <p:nvSpPr>
          <p:cNvPr id="9" name="Textfeld 8"/>
          <p:cNvSpPr txBox="1"/>
          <p:nvPr/>
        </p:nvSpPr>
        <p:spPr bwMode="gray">
          <a:xfrm>
            <a:off x="1700393" y="6263716"/>
            <a:ext cx="375743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200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dirty="0">
                <a:solidFill>
                  <a:schemeClr val="tx1"/>
                </a:solidFill>
              </a:rPr>
              <a:t>FOLIE </a:t>
            </a:r>
            <a:fld id="{47E69A0B-197A-4DD5-BE5E-8D8187EA5689}" type="slidenum">
              <a:rPr lang="de-DE" sz="900" smtClean="0">
                <a:solidFill>
                  <a:schemeClr val="tx1"/>
                </a:solidFill>
              </a:rPr>
              <a:pPr marL="0" marR="0" indent="0" algn="l" defTabSz="12200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900" dirty="0">
              <a:solidFill>
                <a:schemeClr val="tx1"/>
              </a:solidFill>
            </a:endParaRPr>
          </a:p>
        </p:txBody>
      </p:sp>
      <p:sp>
        <p:nvSpPr>
          <p:cNvPr id="21" name="Freeform 9"/>
          <p:cNvSpPr>
            <a:spLocks/>
          </p:cNvSpPr>
          <p:nvPr/>
        </p:nvSpPr>
        <p:spPr bwMode="gray">
          <a:xfrm>
            <a:off x="383516" y="6105525"/>
            <a:ext cx="1150009" cy="754540"/>
          </a:xfrm>
          <a:custGeom>
            <a:avLst/>
            <a:gdLst/>
            <a:ahLst/>
            <a:cxnLst/>
            <a:rect l="l" t="t" r="r" b="b"/>
            <a:pathLst>
              <a:path w="1150009" h="754540">
                <a:moveTo>
                  <a:pt x="650005" y="342056"/>
                </a:moveTo>
                <a:cubicBezTo>
                  <a:pt x="1150009" y="342056"/>
                  <a:pt x="1150009" y="342056"/>
                  <a:pt x="1150009" y="342056"/>
                </a:cubicBezTo>
                <a:cubicBezTo>
                  <a:pt x="1150009" y="526926"/>
                  <a:pt x="1150009" y="659487"/>
                  <a:pt x="1150009" y="754540"/>
                </a:cubicBezTo>
                <a:lnTo>
                  <a:pt x="840006" y="754540"/>
                </a:lnTo>
                <a:cubicBezTo>
                  <a:pt x="840006" y="559844"/>
                  <a:pt x="840006" y="559844"/>
                  <a:pt x="840006" y="559844"/>
                </a:cubicBezTo>
                <a:cubicBezTo>
                  <a:pt x="650005" y="559844"/>
                  <a:pt x="650005" y="559844"/>
                  <a:pt x="650005" y="559844"/>
                </a:cubicBezTo>
                <a:cubicBezTo>
                  <a:pt x="650005" y="342056"/>
                  <a:pt x="650005" y="342056"/>
                  <a:pt x="650005" y="342056"/>
                </a:cubicBezTo>
                <a:close/>
                <a:moveTo>
                  <a:pt x="181676" y="0"/>
                </a:moveTo>
                <a:lnTo>
                  <a:pt x="1120009" y="0"/>
                </a:lnTo>
                <a:cubicBezTo>
                  <a:pt x="1120009" y="144066"/>
                  <a:pt x="1120009" y="144066"/>
                  <a:pt x="1120009" y="144066"/>
                </a:cubicBezTo>
                <a:cubicBezTo>
                  <a:pt x="1020008" y="84669"/>
                  <a:pt x="870007" y="64870"/>
                  <a:pt x="800007" y="64870"/>
                </a:cubicBezTo>
                <a:cubicBezTo>
                  <a:pt x="540005" y="64870"/>
                  <a:pt x="320002" y="173765"/>
                  <a:pt x="320002" y="450950"/>
                </a:cubicBezTo>
                <a:cubicBezTo>
                  <a:pt x="320002" y="584486"/>
                  <a:pt x="381916" y="690781"/>
                  <a:pt x="480397" y="754540"/>
                </a:cubicBezTo>
                <a:lnTo>
                  <a:pt x="77074" y="754540"/>
                </a:lnTo>
                <a:cubicBezTo>
                  <a:pt x="27933" y="674077"/>
                  <a:pt x="0" y="573351"/>
                  <a:pt x="0" y="450950"/>
                </a:cubicBezTo>
                <a:cubicBezTo>
                  <a:pt x="0" y="246024"/>
                  <a:pt x="65601" y="97659"/>
                  <a:pt x="1816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/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685641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6" r:id="rId2"/>
    <p:sldLayoutId id="2147483660" r:id="rId3"/>
    <p:sldLayoutId id="2147483661" r:id="rId4"/>
    <p:sldLayoutId id="2147483677" r:id="rId5"/>
    <p:sldLayoutId id="2147483662" r:id="rId6"/>
    <p:sldLayoutId id="2147483663" r:id="rId7"/>
    <p:sldLayoutId id="2147483678" r:id="rId8"/>
    <p:sldLayoutId id="2147483664" r:id="rId9"/>
    <p:sldLayoutId id="2147483650" r:id="rId10"/>
    <p:sldLayoutId id="2147483674" r:id="rId11"/>
    <p:sldLayoutId id="2147483665" r:id="rId12"/>
    <p:sldLayoutId id="2147483666" r:id="rId13"/>
    <p:sldLayoutId id="2147483672" r:id="rId14"/>
    <p:sldLayoutId id="2147483667" r:id="rId15"/>
    <p:sldLayoutId id="2147483673" r:id="rId16"/>
    <p:sldLayoutId id="2147483668" r:id="rId17"/>
    <p:sldLayoutId id="2147483669" r:id="rId18"/>
    <p:sldLayoutId id="2147483670" r:id="rId19"/>
    <p:sldLayoutId id="2147483675" r:id="rId20"/>
    <p:sldLayoutId id="2147483671" r:id="rId21"/>
    <p:sldLayoutId id="2147483682" r:id="rId22"/>
  </p:sldLayoutIdLst>
  <p:hf sldNum="0" hdr="0"/>
  <p:txStyles>
    <p:titleStyle>
      <a:lvl1pPr algn="l" defTabSz="1220084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1220084" rtl="0" eaLnBrk="1" latinLnBrk="0" hangingPunct="1">
        <a:spcBef>
          <a:spcPts val="60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</a:defRPr>
      </a:lvl1pPr>
      <a:lvl2pPr marL="358775" indent="-176213" algn="l" defTabSz="1220084" rtl="0" eaLnBrk="1" latinLnBrk="0" hangingPunct="1">
        <a:spcBef>
          <a:spcPts val="600"/>
        </a:spcBef>
        <a:spcAft>
          <a:spcPts val="0"/>
        </a:spcAft>
        <a:buClr>
          <a:schemeClr val="tx1"/>
        </a:buClr>
        <a:buSzPct val="90000"/>
        <a:buFont typeface="[Normal Text]"/>
        <a:buChar char="–"/>
        <a:defRPr sz="1600" kern="1200">
          <a:solidFill>
            <a:schemeClr val="tx1"/>
          </a:solidFill>
          <a:latin typeface="Arial"/>
          <a:ea typeface="+mn-ea"/>
          <a:cs typeface="+mn-cs"/>
        </a:defRPr>
      </a:lvl2pPr>
      <a:lvl3pPr marL="541338" indent="-182563" algn="l" defTabSz="1220084" rtl="0" eaLnBrk="1" latinLnBrk="0" hangingPunct="1">
        <a:spcBef>
          <a:spcPts val="600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/>
          <a:ea typeface="+mn-ea"/>
          <a:cs typeface="+mn-cs"/>
        </a:defRPr>
      </a:lvl3pPr>
      <a:lvl4pPr marL="715963" indent="-174625" algn="l" defTabSz="1220084" rtl="0" eaLnBrk="1" latinLnBrk="0" hangingPunct="1">
        <a:spcBef>
          <a:spcPts val="600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/>
          <a:ea typeface="+mn-ea"/>
          <a:cs typeface="+mn-cs"/>
        </a:defRPr>
      </a:lvl4pPr>
      <a:lvl5pPr marL="898525" indent="-182563" algn="l" defTabSz="1220084" rtl="0" eaLnBrk="1" latinLnBrk="0" hangingPunct="1">
        <a:spcBef>
          <a:spcPts val="600"/>
        </a:spcBef>
        <a:spcAft>
          <a:spcPts val="0"/>
        </a:spcAft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Arial"/>
          <a:ea typeface="+mn-ea"/>
          <a:cs typeface="+mn-cs"/>
        </a:defRPr>
      </a:lvl5pPr>
      <a:lvl6pPr marL="3355231" indent="-305021" algn="l" defTabSz="122008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5273" indent="-305021" algn="l" defTabSz="122008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5315" indent="-305021" algn="l" defTabSz="122008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5357" indent="-305021" algn="l" defTabSz="122008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200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10042" algn="l" defTabSz="12200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20084" algn="l" defTabSz="12200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30126" algn="l" defTabSz="12200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0168" algn="l" defTabSz="12200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50210" algn="l" defTabSz="12200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60252" algn="l" defTabSz="12200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70294" algn="l" defTabSz="12200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80336" algn="l" defTabSz="12200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8" userDrawn="1">
          <p15:clr>
            <a:srgbClr val="F26B43"/>
          </p15:clr>
        </p15:guide>
        <p15:guide id="2" orient="horz" pos="1072" userDrawn="1">
          <p15:clr>
            <a:srgbClr val="F26B43"/>
          </p15:clr>
        </p15:guide>
        <p15:guide id="3" orient="horz" pos="255" userDrawn="1">
          <p15:clr>
            <a:srgbClr val="F26B43"/>
          </p15:clr>
        </p15:guide>
        <p15:guide id="4" pos="7450" userDrawn="1">
          <p15:clr>
            <a:srgbClr val="F26B43"/>
          </p15:clr>
        </p15:guide>
        <p15:guide id="5" orient="horz" pos="3680" userDrawn="1">
          <p15:clr>
            <a:srgbClr val="F26B43"/>
          </p15:clr>
        </p15:guide>
        <p15:guide id="6" pos="4570" userDrawn="1">
          <p15:clr>
            <a:srgbClr val="F26B43"/>
          </p15:clr>
        </p15:guide>
        <p15:guide id="7" pos="477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8.pn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eberit.at/trinkwasserseminar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73833258-4D0E-46E2-85BC-248599541A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0170" y="4766553"/>
            <a:ext cx="7924530" cy="209303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414083" y="2437280"/>
            <a:ext cx="7035800" cy="2308324"/>
          </a:xfrm>
        </p:spPr>
        <p:txBody>
          <a:bodyPr anchor="ctr"/>
          <a:lstStyle/>
          <a:p>
            <a:r>
              <a:rPr lang="de-DE" sz="4800" dirty="0"/>
              <a:t>Wasser &amp; Technik</a:t>
            </a:r>
            <a:br>
              <a:rPr lang="de-DE" dirty="0"/>
            </a:br>
            <a:br>
              <a:rPr lang="de-DE" dirty="0"/>
            </a:br>
            <a:r>
              <a:rPr lang="de-DE" dirty="0"/>
              <a:t>Herzliche Willkommen im Namen der 3 Partnerfirmen !</a:t>
            </a:r>
          </a:p>
        </p:txBody>
      </p:sp>
      <p:pic>
        <p:nvPicPr>
          <p:cNvPr id="3" name="Picture 4" descr="Kemper-logo neu">
            <a:extLst>
              <a:ext uri="{FF2B5EF4-FFF2-40B4-BE49-F238E27FC236}">
                <a16:creationId xmlns:a16="http://schemas.microsoft.com/office/drawing/2014/main" id="{2192040D-D65B-4F9F-9560-F713F3CA0D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1858" y="242823"/>
            <a:ext cx="1710397" cy="502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 descr="Bildergebnis für logo wilo">
            <a:extLst>
              <a:ext uri="{FF2B5EF4-FFF2-40B4-BE49-F238E27FC236}">
                <a16:creationId xmlns:a16="http://schemas.microsoft.com/office/drawing/2014/main" id="{981C0809-5B78-4AE8-A99C-B67185082E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143" y="309755"/>
            <a:ext cx="1008296" cy="435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13FB83DE-B9B9-4999-AD1B-7ED73A66D834}"/>
              </a:ext>
            </a:extLst>
          </p:cNvPr>
          <p:cNvSpPr txBox="1"/>
          <p:nvPr/>
        </p:nvSpPr>
        <p:spPr>
          <a:xfrm>
            <a:off x="9951407" y="6154170"/>
            <a:ext cx="222762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563" indent="-182563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chemeClr val="accent6">
                    <a:lumMod val="50000"/>
                  </a:schemeClr>
                </a:solidFill>
              </a:rPr>
              <a:t>3.4.2019   Feldkirch</a:t>
            </a:r>
            <a:br>
              <a:rPr lang="de-DE" sz="1600" b="1" dirty="0">
                <a:solidFill>
                  <a:schemeClr val="accent6">
                    <a:lumMod val="50000"/>
                  </a:schemeClr>
                </a:solidFill>
              </a:rPr>
            </a:br>
            <a:r>
              <a:rPr lang="de-DE" sz="1600" b="1" dirty="0">
                <a:solidFill>
                  <a:schemeClr val="accent6">
                    <a:lumMod val="50000"/>
                  </a:schemeClr>
                </a:solidFill>
              </a:rPr>
              <a:t>4.4.2019   Hall / Tirol</a:t>
            </a:r>
            <a:endParaRPr lang="de-AT" sz="1600" b="1" dirty="0">
              <a:solidFill>
                <a:schemeClr val="accent6">
                  <a:lumMod val="50000"/>
                </a:schemeClr>
              </a:solidFill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1053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Datumsplatzhalter 3">
            <a:extLst>
              <a:ext uri="{FF2B5EF4-FFF2-40B4-BE49-F238E27FC236}">
                <a16:creationId xmlns:a16="http://schemas.microsoft.com/office/drawing/2014/main" id="{5F81A914-C0C1-4EB6-8806-561C00DFAA01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700393" y="6579972"/>
            <a:ext cx="3757431" cy="138499"/>
          </a:xfrm>
          <a:noFill/>
        </p:spPr>
        <p:txBody>
          <a:bodyPr/>
          <a:lstStyle>
            <a:lvl1pPr>
              <a:lnSpc>
                <a:spcPts val="2400"/>
              </a:lnSpc>
              <a:buSzPct val="13000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3099" indent="-285807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229" indent="-228646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520" indent="-228646">
              <a:lnSpc>
                <a:spcPts val="2400"/>
              </a:lnSpc>
              <a:buFont typeface="Arial" panose="020B0604020202020204" pitchFamily="34" charset="0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811" indent="-228646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5103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2394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686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977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SzTx/>
              <a:buFontTx/>
              <a:buNone/>
              <a:defRPr/>
            </a:pPr>
            <a:r>
              <a:rPr lang="de-DE" altLang="de-DE" dirty="0">
                <a:solidFill>
                  <a:schemeClr val="tx1"/>
                </a:solidFill>
                <a:latin typeface="+mn-lt"/>
              </a:rPr>
              <a:t>April 2019</a:t>
            </a:r>
            <a:endParaRPr lang="de-CH" altLang="de-DE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3013" name="AutoShape 5">
            <a:extLst>
              <a:ext uri="{FF2B5EF4-FFF2-40B4-BE49-F238E27FC236}">
                <a16:creationId xmlns:a16="http://schemas.microsoft.com/office/drawing/2014/main" id="{1F2930FB-14F9-44D3-8A9C-6F2AE70685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808" y="1425678"/>
            <a:ext cx="4636573" cy="3224959"/>
          </a:xfrm>
          <a:prstGeom prst="roundRect">
            <a:avLst>
              <a:gd name="adj" fmla="val 10606"/>
            </a:avLst>
          </a:prstGeom>
          <a:solidFill>
            <a:srgbClr val="4173C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ts val="2400"/>
              </a:lnSpc>
              <a:buSzPct val="13000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ts val="2400"/>
              </a:lnSpc>
              <a:buFont typeface="Arial" panose="020B0604020202020204" pitchFamily="34" charset="0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50000"/>
              </a:spcBef>
              <a:buSzTx/>
              <a:buFontTx/>
              <a:buNone/>
            </a:pPr>
            <a:r>
              <a:rPr lang="de-DE" altLang="de-DE" sz="3201" b="1" dirty="0">
                <a:solidFill>
                  <a:schemeClr val="bg1"/>
                </a:solidFill>
              </a:rPr>
              <a:t>Durch </a:t>
            </a:r>
            <a:r>
              <a:rPr lang="de-DE" altLang="de-DE" sz="3201" b="1" dirty="0" err="1">
                <a:solidFill>
                  <a:schemeClr val="bg1"/>
                </a:solidFill>
              </a:rPr>
              <a:t>verschmutzes</a:t>
            </a:r>
            <a:r>
              <a:rPr lang="de-DE" altLang="de-DE" sz="3201" b="1" dirty="0">
                <a:solidFill>
                  <a:schemeClr val="bg1"/>
                </a:solidFill>
              </a:rPr>
              <a:t> Trinkwasser sterben weltweit mehr Menschen als durch Waffengewalt !</a:t>
            </a:r>
            <a:endParaRPr lang="de-DE" altLang="de-DE" sz="3201" b="1" i="1" dirty="0">
              <a:solidFill>
                <a:schemeClr val="bg1"/>
              </a:solidFill>
            </a:endParaRPr>
          </a:p>
        </p:txBody>
      </p:sp>
      <p:pic>
        <p:nvPicPr>
          <p:cNvPr id="23556" name="Grafik 1">
            <a:extLst>
              <a:ext uri="{FF2B5EF4-FFF2-40B4-BE49-F238E27FC236}">
                <a16:creationId xmlns:a16="http://schemas.microsoft.com/office/drawing/2014/main" id="{E36E4419-E1D9-44F5-860F-5169F8742C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889" y="216448"/>
            <a:ext cx="4413250" cy="5647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3F4D87E-ABA9-43DF-8274-61AE98B2BE1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CH" dirty="0"/>
              <a:t>Wasser &amp; Technik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30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013" grpId="0" animBg="1" autoUpdateAnimBg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>
            <a:extLst>
              <a:ext uri="{FF2B5EF4-FFF2-40B4-BE49-F238E27FC236}">
                <a16:creationId xmlns:a16="http://schemas.microsoft.com/office/drawing/2014/main" id="{9BE75F0C-F147-4DF6-9DDC-97AC8D20529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5560" y="299245"/>
            <a:ext cx="11149502" cy="369332"/>
          </a:xfrm>
        </p:spPr>
        <p:txBody>
          <a:bodyPr/>
          <a:lstStyle/>
          <a:p>
            <a:pPr eaLnBrk="1" hangingPunct="1"/>
            <a:r>
              <a:rPr lang="de-CH" altLang="de-DE" dirty="0"/>
              <a:t>Wasser ist Leben </a:t>
            </a:r>
            <a:endParaRPr lang="de-AT" altLang="de-DE" dirty="0"/>
          </a:p>
        </p:txBody>
      </p:sp>
      <p:pic>
        <p:nvPicPr>
          <p:cNvPr id="25604" name="Picture 5" descr="wasser_haende">
            <a:extLst>
              <a:ext uri="{FF2B5EF4-FFF2-40B4-BE49-F238E27FC236}">
                <a16:creationId xmlns:a16="http://schemas.microsoft.com/office/drawing/2014/main" id="{6F33019F-8AD2-4C61-9665-B483AF005D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8221" y="1722292"/>
            <a:ext cx="5338086" cy="3941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8550" name="AutoShape 6">
            <a:extLst>
              <a:ext uri="{FF2B5EF4-FFF2-40B4-BE49-F238E27FC236}">
                <a16:creationId xmlns:a16="http://schemas.microsoft.com/office/drawing/2014/main" id="{52DE1D6C-967A-44F3-9F63-AB3433AFB2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277" y="1157556"/>
            <a:ext cx="5428919" cy="2227779"/>
          </a:xfrm>
          <a:prstGeom prst="roundRect">
            <a:avLst>
              <a:gd name="adj" fmla="val 16667"/>
            </a:avLst>
          </a:prstGeom>
          <a:solidFill>
            <a:srgbClr val="4173C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17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ts val="2400"/>
              </a:lnSpc>
              <a:buSzPct val="13000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ts val="2400"/>
              </a:lnSpc>
              <a:buFont typeface="Arial" panose="020B0604020202020204" pitchFamily="34" charset="0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30000"/>
              </a:lnSpc>
              <a:spcBef>
                <a:spcPct val="50000"/>
              </a:spcBef>
              <a:buSzTx/>
              <a:buFontTx/>
              <a:buNone/>
            </a:pPr>
            <a:r>
              <a:rPr lang="de-DE" altLang="de-DE" b="1">
                <a:solidFill>
                  <a:schemeClr val="bg1"/>
                </a:solidFill>
              </a:rPr>
              <a:t>Die Sanitärtechnik hat Wasser in seinem Kreislauf zwischen Natur und Verwendung bestmöglich zu verwalten!</a:t>
            </a:r>
          </a:p>
        </p:txBody>
      </p:sp>
      <p:pic>
        <p:nvPicPr>
          <p:cNvPr id="25606" name="Picture 9" descr="Kemper-logo neu">
            <a:extLst>
              <a:ext uri="{FF2B5EF4-FFF2-40B4-BE49-F238E27FC236}">
                <a16:creationId xmlns:a16="http://schemas.microsoft.com/office/drawing/2014/main" id="{E847A042-C545-4171-B96E-87D533A8E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607" y="6322608"/>
            <a:ext cx="1158142" cy="3399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pic>
        <p:nvPicPr>
          <p:cNvPr id="25607" name="Picture 6" descr="Bildergebnis für logo wilo">
            <a:extLst>
              <a:ext uri="{FF2B5EF4-FFF2-40B4-BE49-F238E27FC236}">
                <a16:creationId xmlns:a16="http://schemas.microsoft.com/office/drawing/2014/main" id="{6C81FDF6-7229-4283-8628-8F3C2D5E38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021" y="6322608"/>
            <a:ext cx="828976" cy="358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618715-A8F0-471F-BE71-D7692D8B55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Wasser &amp; Technik 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62F19914-DB16-4657-8E03-C66CF468D9C0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xfrm>
            <a:off x="1700213" y="6580188"/>
            <a:ext cx="3757612" cy="138112"/>
          </a:xfrm>
          <a:noFill/>
        </p:spPr>
        <p:txBody>
          <a:bodyPr/>
          <a:lstStyle>
            <a:lvl1pPr>
              <a:lnSpc>
                <a:spcPts val="2400"/>
              </a:lnSpc>
              <a:buSzPct val="13000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3099" indent="-285807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229" indent="-228646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520" indent="-228646">
              <a:lnSpc>
                <a:spcPts val="2400"/>
              </a:lnSpc>
              <a:buFont typeface="Arial" panose="020B0604020202020204" pitchFamily="34" charset="0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811" indent="-228646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5103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2394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686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977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SzTx/>
              <a:buFontTx/>
              <a:buNone/>
              <a:defRPr/>
            </a:pPr>
            <a:r>
              <a:rPr lang="de-DE" altLang="de-DE" dirty="0">
                <a:solidFill>
                  <a:schemeClr val="tx1"/>
                </a:solidFill>
                <a:latin typeface="+mn-lt"/>
              </a:rPr>
              <a:t>April 2019</a:t>
            </a:r>
            <a:endParaRPr lang="de-CH" altLang="de-DE" dirty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08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550" grpId="0" animBg="1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Datumsplatzhalter 3">
            <a:extLst>
              <a:ext uri="{FF2B5EF4-FFF2-40B4-BE49-F238E27FC236}">
                <a16:creationId xmlns:a16="http://schemas.microsoft.com/office/drawing/2014/main" id="{566F9EF6-8D81-4F0A-99BF-732F21777B80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>
            <a:lvl1pPr>
              <a:lnSpc>
                <a:spcPts val="2400"/>
              </a:lnSpc>
              <a:buSzPct val="13000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3099" indent="-285807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229" indent="-228646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520" indent="-228646">
              <a:lnSpc>
                <a:spcPts val="2400"/>
              </a:lnSpc>
              <a:buFont typeface="Arial" panose="020B0604020202020204" pitchFamily="34" charset="0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811" indent="-228646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5103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2394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686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977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SzTx/>
              <a:buFontTx/>
              <a:buNone/>
            </a:pPr>
            <a:r>
              <a:rPr lang="de-DE" altLang="de-DE" dirty="0">
                <a:solidFill>
                  <a:schemeClr val="accent5"/>
                </a:solidFill>
              </a:rPr>
              <a:t>April 2019</a:t>
            </a:r>
            <a:endParaRPr lang="de-CH" altLang="de-DE" dirty="0">
              <a:solidFill>
                <a:schemeClr val="accent5"/>
              </a:solidFill>
            </a:endParaRPr>
          </a:p>
        </p:txBody>
      </p:sp>
      <p:sp>
        <p:nvSpPr>
          <p:cNvPr id="27651" name="Rectangle 3">
            <a:extLst>
              <a:ext uri="{FF2B5EF4-FFF2-40B4-BE49-F238E27FC236}">
                <a16:creationId xmlns:a16="http://schemas.microsoft.com/office/drawing/2014/main" id="{E5A3B316-7783-4B95-9CF1-ADDD3462190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67150" y="141117"/>
            <a:ext cx="8355359" cy="461687"/>
          </a:xfrm>
          <a:noFill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61" tIns="45731" rIns="91461" bIns="45731" rtlCol="0" anchor="t">
            <a:spAutoFit/>
          </a:bodyPr>
          <a:lstStyle/>
          <a:p>
            <a:pPr eaLnBrk="1" hangingPunct="1">
              <a:spcBef>
                <a:spcPct val="20000"/>
              </a:spcBef>
              <a:spcAft>
                <a:spcPct val="20000"/>
              </a:spcAft>
              <a:buClr>
                <a:srgbClr val="7F7F7F"/>
              </a:buClr>
              <a:buFont typeface="Wingdings" panose="05000000000000000000" pitchFamily="2" charset="2"/>
              <a:buNone/>
            </a:pPr>
            <a:r>
              <a:rPr lang="de-CH" altLang="de-DE" dirty="0"/>
              <a:t>Programmablauf </a:t>
            </a: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3CD8AFAB-3F81-4054-AE11-DDFB6095A2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364" y="642709"/>
            <a:ext cx="11495972" cy="5415265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265113" indent="-265113" defTabSz="762000" eaLnBrk="0" hangingPunct="0">
              <a:lnSpc>
                <a:spcPts val="2400"/>
              </a:lnSpc>
              <a:buSzPct val="130000"/>
              <a:buChar char="•"/>
              <a:defRPr>
                <a:solidFill>
                  <a:srgbClr val="000000"/>
                </a:solidFill>
                <a:latin typeface="Arial" charset="0"/>
              </a:defRPr>
            </a:lvl1pPr>
            <a:lvl2pPr marL="742950" indent="-285750" defTabSz="762000" eaLnBrk="0" hangingPunct="0">
              <a:lnSpc>
                <a:spcPts val="2400"/>
              </a:lnSpc>
              <a:buSzPct val="130000"/>
              <a:buFont typeface="Arial" charset="0"/>
              <a:buChar char="•"/>
              <a:defRPr sz="1600">
                <a:solidFill>
                  <a:srgbClr val="000000"/>
                </a:solidFill>
                <a:latin typeface="Arial" charset="0"/>
              </a:defRPr>
            </a:lvl2pPr>
            <a:lvl3pPr marL="1143000" indent="-228600" defTabSz="762000" eaLnBrk="0" hangingPunct="0">
              <a:lnSpc>
                <a:spcPts val="2400"/>
              </a:lnSpc>
              <a:buSzPct val="130000"/>
              <a:buFont typeface="Arial" charset="0"/>
              <a:buChar char="•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 defTabSz="762000" eaLnBrk="0" hangingPunct="0">
              <a:lnSpc>
                <a:spcPts val="2400"/>
              </a:lnSpc>
              <a:buFont typeface="Arial" charset="0"/>
              <a:defRPr>
                <a:solidFill>
                  <a:srgbClr val="000000"/>
                </a:solidFill>
                <a:latin typeface="Arial" charset="0"/>
              </a:defRPr>
            </a:lvl4pPr>
            <a:lvl5pPr marL="2057400" indent="-228600" defTabSz="762000" eaLnBrk="0" hangingPunct="0">
              <a:lnSpc>
                <a:spcPts val="2400"/>
              </a:lnSpc>
              <a:buFont typeface="Arial" charset="0"/>
              <a:buChar char="•"/>
              <a:defRPr>
                <a:solidFill>
                  <a:srgbClr val="000000"/>
                </a:solidFill>
                <a:latin typeface="Arial" charset="0"/>
              </a:defRPr>
            </a:lvl5pPr>
            <a:lvl6pPr marL="2514600" indent="-228600" defTabSz="7620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rgbClr val="000000"/>
                </a:solidFill>
                <a:latin typeface="Arial" charset="0"/>
              </a:defRPr>
            </a:lvl6pPr>
            <a:lvl7pPr marL="2971800" indent="-228600" defTabSz="7620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rgbClr val="000000"/>
                </a:solidFill>
                <a:latin typeface="Arial" charset="0"/>
              </a:defRPr>
            </a:lvl7pPr>
            <a:lvl8pPr marL="3429000" indent="-228600" defTabSz="7620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rgbClr val="000000"/>
                </a:solidFill>
                <a:latin typeface="Arial" charset="0"/>
              </a:defRPr>
            </a:lvl8pPr>
            <a:lvl9pPr marL="3886200" indent="-228600" defTabSz="7620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sz="2000" dirty="0">
                <a:solidFill>
                  <a:schemeClr val="accent6">
                    <a:lumMod val="50000"/>
                  </a:schemeClr>
                </a:solidFill>
              </a:rPr>
              <a:t>Begrüßung, Einleitung									Friedrich Singer</a:t>
            </a:r>
            <a:endParaRPr lang="de-DE" altLang="de-DE" sz="1600" dirty="0">
              <a:solidFill>
                <a:schemeClr val="accent6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sz="2000" dirty="0">
                <a:solidFill>
                  <a:schemeClr val="accent6">
                    <a:lumMod val="50000"/>
                  </a:schemeClr>
                </a:solidFill>
              </a:rPr>
              <a:t>Fachvortrag										Thomas Almer</a:t>
            </a:r>
          </a:p>
          <a:p>
            <a:pPr lvl="1"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dirty="0">
                <a:solidFill>
                  <a:schemeClr val="accent6">
                    <a:lumMod val="50000"/>
                  </a:schemeClr>
                </a:solidFill>
              </a:rPr>
              <a:t>Druckerhöhung, Löschwasser, Anschlussvarianten  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sz="2000" dirty="0">
                <a:solidFill>
                  <a:schemeClr val="accent6">
                    <a:lumMod val="50000"/>
                  </a:schemeClr>
                </a:solidFill>
              </a:rPr>
              <a:t>Kaffeepause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sz="2000" dirty="0">
                <a:solidFill>
                  <a:schemeClr val="accent6">
                    <a:lumMod val="50000"/>
                  </a:schemeClr>
                </a:solidFill>
              </a:rPr>
              <a:t>Fachvortrag 										Friedrich Singer</a:t>
            </a:r>
          </a:p>
          <a:p>
            <a:pPr lvl="1"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dirty="0">
                <a:solidFill>
                  <a:schemeClr val="accent6">
                    <a:lumMod val="50000"/>
                  </a:schemeClr>
                </a:solidFill>
              </a:rPr>
              <a:t>Normen und Vorgaben Trinkwasserhygiene, Rohrsysteme, Produkte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sz="2000" dirty="0">
                <a:solidFill>
                  <a:schemeClr val="accent6">
                    <a:lumMod val="50000"/>
                  </a:schemeClr>
                </a:solidFill>
              </a:rPr>
              <a:t>Kaffeepause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sz="2000" dirty="0">
                <a:solidFill>
                  <a:schemeClr val="accent6">
                    <a:lumMod val="50000"/>
                  </a:schemeClr>
                </a:solidFill>
              </a:rPr>
              <a:t>Fachvortrag 										Ingo Sanft</a:t>
            </a:r>
          </a:p>
          <a:p>
            <a:pPr lvl="1"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dirty="0">
                <a:solidFill>
                  <a:schemeClr val="accent6">
                    <a:lumMod val="50000"/>
                  </a:schemeClr>
                </a:solidFill>
              </a:rPr>
              <a:t>Hygienische Warmwasserbereitung,  Produktlösungen dezentral, Kühlung, Sanierungen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sz="2000" dirty="0">
                <a:solidFill>
                  <a:schemeClr val="accent6">
                    <a:lumMod val="50000"/>
                  </a:schemeClr>
                </a:solidFill>
              </a:rPr>
              <a:t>Zusammenfassung, Diskussion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70C0"/>
              </a:buClr>
              <a:buSzTx/>
              <a:buFont typeface="Wingdings" pitchFamily="2" charset="2"/>
              <a:buChar char="n"/>
              <a:defRPr/>
            </a:pPr>
            <a:r>
              <a:rPr lang="de-DE" altLang="de-DE" sz="2000" dirty="0">
                <a:solidFill>
                  <a:schemeClr val="accent6">
                    <a:lumMod val="50000"/>
                  </a:schemeClr>
                </a:solidFill>
              </a:rPr>
              <a:t>Gemütlicher Ausklang beim Abendessen					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E0F8247-25C2-498B-8C5B-940F49509B9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Wasser &amp; Technik </a:t>
            </a:r>
          </a:p>
        </p:txBody>
      </p:sp>
      <p:pic>
        <p:nvPicPr>
          <p:cNvPr id="8" name="Picture 9" descr="Kemper-logo neu">
            <a:extLst>
              <a:ext uri="{FF2B5EF4-FFF2-40B4-BE49-F238E27FC236}">
                <a16:creationId xmlns:a16="http://schemas.microsoft.com/office/drawing/2014/main" id="{BCDBC809-3D10-4C92-A28B-A9BD14642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1607" y="6322608"/>
            <a:ext cx="1158142" cy="3399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  <p:pic>
        <p:nvPicPr>
          <p:cNvPr id="10" name="Picture 6" descr="Bildergebnis für logo wilo">
            <a:extLst>
              <a:ext uri="{FF2B5EF4-FFF2-40B4-BE49-F238E27FC236}">
                <a16:creationId xmlns:a16="http://schemas.microsoft.com/office/drawing/2014/main" id="{E2E6441B-5232-4183-B8DE-86F7358D01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021" y="6322608"/>
            <a:ext cx="828976" cy="358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Bildergebnis für logo wilo">
            <a:extLst>
              <a:ext uri="{FF2B5EF4-FFF2-40B4-BE49-F238E27FC236}">
                <a16:creationId xmlns:a16="http://schemas.microsoft.com/office/drawing/2014/main" id="{73B5DE47-4F70-4B7A-9BCF-B11A357A54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2351" y="1252004"/>
            <a:ext cx="763323" cy="330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75E28E1C-43FB-486B-AC5C-FF6068740E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62351" y="2688502"/>
            <a:ext cx="1704975" cy="438150"/>
          </a:xfrm>
          <a:prstGeom prst="rect">
            <a:avLst/>
          </a:prstGeom>
        </p:spPr>
      </p:pic>
      <p:pic>
        <p:nvPicPr>
          <p:cNvPr id="12" name="Picture 9" descr="Kemper-logo neu">
            <a:extLst>
              <a:ext uri="{FF2B5EF4-FFF2-40B4-BE49-F238E27FC236}">
                <a16:creationId xmlns:a16="http://schemas.microsoft.com/office/drawing/2014/main" id="{E4A6ECF7-E4D6-41BE-BB5A-4415AE5F3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423" y="4097931"/>
            <a:ext cx="1308632" cy="3840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Datumsplatzhalter 3">
            <a:extLst>
              <a:ext uri="{FF2B5EF4-FFF2-40B4-BE49-F238E27FC236}">
                <a16:creationId xmlns:a16="http://schemas.microsoft.com/office/drawing/2014/main" id="{1E3A145F-B496-4AAC-B77E-7AF6A056ECC7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>
            <a:lvl1pPr>
              <a:lnSpc>
                <a:spcPts val="2400"/>
              </a:lnSpc>
              <a:buSzPct val="13000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3099" indent="-285807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229" indent="-228646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520" indent="-228646">
              <a:lnSpc>
                <a:spcPts val="2400"/>
              </a:lnSpc>
              <a:buFont typeface="Arial" panose="020B0604020202020204" pitchFamily="34" charset="0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811" indent="-228646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5103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2394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686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977" indent="-228646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buSzTx/>
              <a:buFontTx/>
              <a:buNone/>
            </a:pPr>
            <a:r>
              <a:rPr lang="de-DE" altLang="de-DE">
                <a:solidFill>
                  <a:schemeClr val="tx2"/>
                </a:solidFill>
              </a:rPr>
              <a:t>April 2019</a:t>
            </a:r>
            <a:endParaRPr lang="de-CH" altLang="de-DE">
              <a:solidFill>
                <a:schemeClr val="tx2"/>
              </a:solidFill>
            </a:endParaRPr>
          </a:p>
        </p:txBody>
      </p:sp>
      <p:sp>
        <p:nvSpPr>
          <p:cNvPr id="29699" name="Rectangle 2">
            <a:extLst>
              <a:ext uri="{FF2B5EF4-FFF2-40B4-BE49-F238E27FC236}">
                <a16:creationId xmlns:a16="http://schemas.microsoft.com/office/drawing/2014/main" id="{9F625EE2-D9F6-4CB4-99E8-57E27BD273C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4567" y="141117"/>
            <a:ext cx="8355359" cy="461687"/>
          </a:xfrm>
          <a:noFill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61" tIns="45731" rIns="91461" bIns="45731" rtlCol="0" anchor="t">
            <a:spAutoFit/>
          </a:bodyPr>
          <a:lstStyle/>
          <a:p>
            <a:pPr eaLnBrk="1" hangingPunct="1">
              <a:spcBef>
                <a:spcPct val="20000"/>
              </a:spcBef>
              <a:spcAft>
                <a:spcPct val="20000"/>
              </a:spcAft>
              <a:buClr>
                <a:srgbClr val="7F7F7F"/>
              </a:buClr>
              <a:buFont typeface="Wingdings" panose="05000000000000000000" pitchFamily="2" charset="2"/>
              <a:buNone/>
            </a:pPr>
            <a:r>
              <a:rPr lang="de-CH" altLang="de-DE" dirty="0"/>
              <a:t>Organisatorisches</a:t>
            </a:r>
          </a:p>
        </p:txBody>
      </p:sp>
      <p:sp>
        <p:nvSpPr>
          <p:cNvPr id="29700" name="Text Box 4">
            <a:extLst>
              <a:ext uri="{FF2B5EF4-FFF2-40B4-BE49-F238E27FC236}">
                <a16:creationId xmlns:a16="http://schemas.microsoft.com/office/drawing/2014/main" id="{78D461D6-F5D8-41CA-8AC1-F26F8AA2D8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2102" y="659219"/>
            <a:ext cx="11527277" cy="2646109"/>
          </a:xfrm>
          <a:prstGeom prst="rect">
            <a:avLst/>
          </a:prstGeom>
          <a:noFill/>
          <a:ln w="222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265113" indent="-265113" defTabSz="762000">
              <a:lnSpc>
                <a:spcPts val="2400"/>
              </a:lnSpc>
              <a:buSzPct val="13000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 defTabSz="762000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 defTabSz="762000">
              <a:lnSpc>
                <a:spcPts val="2400"/>
              </a:lnSpc>
              <a:buSzPct val="130000"/>
              <a:buFont typeface="Arial" panose="020B0604020202020204" pitchFamily="34" charset="0"/>
              <a:buChar char="•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 defTabSz="762000">
              <a:lnSpc>
                <a:spcPts val="2400"/>
              </a:lnSpc>
              <a:buFont typeface="Arial" panose="020B0604020202020204" pitchFamily="34" charset="0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 defTabSz="762000">
              <a:lnSpc>
                <a:spcPts val="2400"/>
              </a:lnSpc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defTabSz="7620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defTabSz="7620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defTabSz="7620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defTabSz="76200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lnSpc>
                <a:spcPct val="110000"/>
              </a:lnSpc>
              <a:spcBef>
                <a:spcPct val="20000"/>
              </a:spcBef>
              <a:buClr>
                <a:srgbClr val="0070C0"/>
              </a:buClr>
              <a:buSzTx/>
              <a:buNone/>
            </a:pPr>
            <a:r>
              <a:rPr lang="de-DE" altLang="de-DE" dirty="0"/>
              <a:t>-	bei Fragen und Infos zu Produkten wenden Sie sich bitte an zuständigen 	Außendienstkollegen der Firmen WILO, GEBERIT und KEMPER</a:t>
            </a:r>
          </a:p>
          <a:p>
            <a:pPr marL="0" indent="0">
              <a:lnSpc>
                <a:spcPct val="110000"/>
              </a:lnSpc>
              <a:spcBef>
                <a:spcPct val="20000"/>
              </a:spcBef>
              <a:buClr>
                <a:schemeClr val="tx2"/>
              </a:buClr>
              <a:buSzTx/>
              <a:buNone/>
            </a:pPr>
            <a:r>
              <a:rPr lang="de-DE" altLang="de-DE" dirty="0"/>
              <a:t>-	Prospektmaterial liegt zur Mitnahme auf</a:t>
            </a:r>
          </a:p>
          <a:p>
            <a:pPr marL="0" indent="0">
              <a:lnSpc>
                <a:spcPct val="110000"/>
              </a:lnSpc>
              <a:spcBef>
                <a:spcPct val="20000"/>
              </a:spcBef>
              <a:buClr>
                <a:schemeClr val="tx2"/>
              </a:buClr>
              <a:buSzTx/>
              <a:buNone/>
            </a:pPr>
            <a:r>
              <a:rPr lang="de-DE" altLang="de-DE" dirty="0"/>
              <a:t>-	die Präsentationen zum Seminar „Wasser &amp; Technik“ sowie weitere 	interessante Infos zum Thema Trinkwasserhygiene finden sie unter dem 	folgenden Link     </a:t>
            </a:r>
            <a:r>
              <a:rPr lang="de-DE" altLang="de-DE" dirty="0">
                <a:solidFill>
                  <a:schemeClr val="accent1"/>
                </a:solidFill>
                <a:hlinkClick r:id="rId3"/>
              </a:rPr>
              <a:t>www.geberit.at/trinkwasserseminar</a:t>
            </a:r>
            <a:endParaRPr lang="de-DE" altLang="de-DE" dirty="0">
              <a:solidFill>
                <a:schemeClr val="accent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2C8926B-EAC9-4320-A932-805CBCE97E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402" y="3823922"/>
            <a:ext cx="10924977" cy="2283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7E090032-F205-438C-B1C4-B01CFDAE77DF}"/>
              </a:ext>
            </a:extLst>
          </p:cNvPr>
          <p:cNvSpPr/>
          <p:nvPr/>
        </p:nvSpPr>
        <p:spPr>
          <a:xfrm>
            <a:off x="2143943" y="4059877"/>
            <a:ext cx="3313880" cy="792346"/>
          </a:xfrm>
          <a:prstGeom prst="ellipse">
            <a:avLst/>
          </a:prstGeom>
          <a:solidFill>
            <a:srgbClr val="00B0F0">
              <a:alpha val="23000"/>
            </a:srgb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AT" sz="1100" dirty="0">
              <a:solidFill>
                <a:schemeClr val="tx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395CD49-4BC3-4678-B67F-594AA71A317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Wasser &amp; Technik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Datumsplatzhalter 3">
            <a:extLst>
              <a:ext uri="{FF2B5EF4-FFF2-40B4-BE49-F238E27FC236}">
                <a16:creationId xmlns:a16="http://schemas.microsoft.com/office/drawing/2014/main" id="{DC91E612-C57C-4C38-A796-1FE30FBAA8B4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3099" indent="-285807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229" indent="-22864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520" indent="-22864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811" indent="-228646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5103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2394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686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977" indent="-22864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>
                <a:solidFill>
                  <a:schemeClr val="tx2"/>
                </a:solidFill>
              </a:rPr>
              <a:t>April 2019</a:t>
            </a:r>
            <a:endParaRPr lang="de-CH" altLang="de-DE">
              <a:solidFill>
                <a:schemeClr val="tx2"/>
              </a:solidFill>
            </a:endParaRPr>
          </a:p>
        </p:txBody>
      </p:sp>
      <p:pic>
        <p:nvPicPr>
          <p:cNvPr id="31747" name="Grafik 4">
            <a:extLst>
              <a:ext uri="{FF2B5EF4-FFF2-40B4-BE49-F238E27FC236}">
                <a16:creationId xmlns:a16="http://schemas.microsoft.com/office/drawing/2014/main" id="{DF4CABA8-FB86-4A80-BF5B-B595E46A3F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807" y="629946"/>
            <a:ext cx="10188993" cy="455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5A8F082-DEC5-4DBB-8678-2ED1321F313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Wasser &amp; Technik </a:t>
            </a:r>
          </a:p>
        </p:txBody>
      </p:sp>
    </p:spTree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47021" y="1353306"/>
            <a:ext cx="7035800" cy="2708434"/>
          </a:xfrm>
        </p:spPr>
        <p:txBody>
          <a:bodyPr anchor="ctr"/>
          <a:lstStyle/>
          <a:p>
            <a:r>
              <a:rPr lang="de-DE" sz="4400" dirty="0"/>
              <a:t>Wir freuen uns über Ihr Interesse und wünschen Ihnen einen interessanten Nachmittag !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81A9E69-15A7-46EF-BC87-3194BCA471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0170" y="4766553"/>
            <a:ext cx="7924530" cy="2093036"/>
          </a:xfrm>
          <a:prstGeom prst="rect">
            <a:avLst/>
          </a:prstGeom>
        </p:spPr>
      </p:pic>
      <p:pic>
        <p:nvPicPr>
          <p:cNvPr id="10" name="Picture 4" descr="Kemper-logo neu">
            <a:extLst>
              <a:ext uri="{FF2B5EF4-FFF2-40B4-BE49-F238E27FC236}">
                <a16:creationId xmlns:a16="http://schemas.microsoft.com/office/drawing/2014/main" id="{5512DE4B-4DB4-4F8C-B161-4CE75C7DBF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179" y="379255"/>
            <a:ext cx="1368742" cy="401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Bildergebnis für logo wilo">
            <a:extLst>
              <a:ext uri="{FF2B5EF4-FFF2-40B4-BE49-F238E27FC236}">
                <a16:creationId xmlns:a16="http://schemas.microsoft.com/office/drawing/2014/main" id="{34AAE16B-3552-4668-AED7-BA39864645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2098" y="337952"/>
            <a:ext cx="1008295" cy="435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15769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9"/>
  <p:tag name="THINKCELLUNDODONOTDELETE" val="0"/>
  <p:tag name="ARTICULATE_SLIDE_THUMBNAIL_REFRESH" val="1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_geberit_16zu9_DE">
  <a:themeElements>
    <a:clrScheme name="Colour_geberit">
      <a:dk1>
        <a:srgbClr val="575757"/>
      </a:dk1>
      <a:lt1>
        <a:sysClr val="window" lastClr="FFFFFF"/>
      </a:lt1>
      <a:dk2>
        <a:srgbClr val="FF9B3C"/>
      </a:dk2>
      <a:lt2>
        <a:srgbClr val="004673"/>
      </a:lt2>
      <a:accent1>
        <a:srgbClr val="376EB4"/>
      </a:accent1>
      <a:accent2>
        <a:srgbClr val="F0F0F0"/>
      </a:accent2>
      <a:accent3>
        <a:srgbClr val="D9D9D9"/>
      </a:accent3>
      <a:accent4>
        <a:srgbClr val="868686"/>
      </a:accent4>
      <a:accent5>
        <a:srgbClr val="575757"/>
      </a:accent5>
      <a:accent6>
        <a:srgbClr val="3D3D3D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2563" indent="-182563">
          <a:spcBef>
            <a:spcPts val="600"/>
          </a:spcBef>
          <a:buClr>
            <a:schemeClr val="tx1"/>
          </a:buClr>
          <a:buSzPct val="100000"/>
          <a:buFont typeface="Arial" panose="020B0604020202020204" pitchFamily="34" charset="0"/>
          <a:buChar char="•"/>
          <a:defRPr sz="1600" dirty="0">
            <a:latin typeface="Arial"/>
          </a:defRPr>
        </a:defPPr>
      </a:lstStyle>
    </a:txDef>
  </a:objectDefaults>
  <a:extraClrSchemeLst/>
  <a:custClrLst>
    <a:custClr name="Geberit Blue">
      <a:srgbClr val="376EB4"/>
    </a:custClr>
    <a:custClr name="Emerald Green light">
      <a:srgbClr val="4BA5A0"/>
    </a:custClr>
    <a:custClr name="Wood light">
      <a:srgbClr val="B4A078"/>
    </a:custClr>
    <a:custClr name="Rock light">
      <a:srgbClr val="878590"/>
    </a:custClr>
    <a:custClr name="Sky light">
      <a:srgbClr val="96B4D2"/>
    </a:custClr>
    <a:custClr name="Ocean light">
      <a:srgbClr val="91B2BC"/>
    </a:custClr>
    <a:custClr name="Forrest light">
      <a:srgbClr val="7A916B"/>
    </a:custClr>
    <a:custClr name="Disruptive Orange light">
      <a:srgbClr val="F6E1C1"/>
    </a:custClr>
    <a:custClr name="Sunlight light">
      <a:srgbClr val="F7EEDC"/>
    </a:custClr>
    <a:custClr name=" ">
      <a:srgbClr val="FFFFFF"/>
    </a:custClr>
    <a:custClr name="Geberit Blue light">
      <a:srgbClr val="B4CDF0"/>
    </a:custClr>
    <a:custClr name="Emerald Green regular">
      <a:srgbClr val="4BA5A0"/>
    </a:custClr>
    <a:custClr name="Wood regular">
      <a:srgbClr val="87765A"/>
    </a:custClr>
    <a:custClr name="Rock regular">
      <a:srgbClr val="646468"/>
    </a:custClr>
    <a:custClr name="Sky regular">
      <a:srgbClr val="356468"/>
    </a:custClr>
    <a:custClr name="Ocean regular">
      <a:srgbClr val="55828C"/>
    </a:custClr>
    <a:custClr name="Forrest regular">
      <a:srgbClr val="5A6C50"/>
    </a:custClr>
    <a:custClr name="Disruptive Orange regular">
      <a:srgbClr val="EEC88E"/>
    </a:custClr>
    <a:custClr name="Sunlight regular">
      <a:srgbClr val="F3E6C3"/>
    </a:custClr>
    <a:custClr name=" ">
      <a:srgbClr val="FFFFFF"/>
    </a:custClr>
    <a:custClr name="Geberit Blue regular">
      <a:srgbClr val="0A5A96"/>
    </a:custClr>
    <a:custClr name="Emerald Green dark">
      <a:srgbClr val="377B78"/>
    </a:custClr>
    <a:custClr name="Wood dark">
      <a:srgbClr val="5A503C"/>
    </a:custClr>
    <a:custClr name="Rock dark">
      <a:srgbClr val="4E4E50"/>
    </a:custClr>
    <a:custClr name="Sky dark">
      <a:srgbClr val="23465A"/>
    </a:custClr>
    <a:custClr name="Ocean dark">
      <a:srgbClr val="466973"/>
    </a:custClr>
    <a:custClr name="Forrest dark">
      <a:srgbClr val="41503A"/>
    </a:custClr>
    <a:custClr name="Disruptive Orange dark">
      <a:srgbClr val="FF9B3C"/>
    </a:custClr>
    <a:custClr name="Sunlight dark">
      <a:srgbClr val="EEDAA0"/>
    </a:custClr>
    <a:custClr name=" ">
      <a:srgbClr val="FFFFFF"/>
    </a:custClr>
    <a:custClr name="Geberit Blue dark">
      <a:srgbClr val="004673"/>
    </a:custClr>
  </a:custClrLst>
  <a:extLst>
    <a:ext uri="{05A4C25C-085E-4340-85A3-A5531E510DB2}">
      <thm15:themeFamily xmlns:thm15="http://schemas.microsoft.com/office/thememl/2012/main" name="master_geberit_13_07_2017.potx" id="{4626D98C-D9FC-4970-B914-2ACBCA4D6C11}" vid="{A310A29A-5745-4413-8762-D1337598FCD4}"/>
    </a:ext>
  </a:extLst>
</a:theme>
</file>

<file path=ppt/theme/theme2.xml><?xml version="1.0" encoding="utf-8"?>
<a:theme xmlns:a="http://schemas.openxmlformats.org/drawingml/2006/main" name="Larissa">
  <a:themeElements>
    <a:clrScheme name="Colour_geberit">
      <a:dk1>
        <a:srgbClr val="575757"/>
      </a:dk1>
      <a:lt1>
        <a:sysClr val="window" lastClr="FFFFFF"/>
      </a:lt1>
      <a:dk2>
        <a:srgbClr val="004673"/>
      </a:dk2>
      <a:lt2>
        <a:srgbClr val="376EB4"/>
      </a:lt2>
      <a:accent1>
        <a:srgbClr val="FF9B3C"/>
      </a:accent1>
      <a:accent2>
        <a:srgbClr val="3D3D3D"/>
      </a:accent2>
      <a:accent3>
        <a:srgbClr val="575757"/>
      </a:accent3>
      <a:accent4>
        <a:srgbClr val="868686"/>
      </a:accent4>
      <a:accent5>
        <a:srgbClr val="D9D9D9"/>
      </a:accent5>
      <a:accent6>
        <a:srgbClr val="F0F0F0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lour_geberit">
      <a:dk1>
        <a:srgbClr val="575757"/>
      </a:dk1>
      <a:lt1>
        <a:sysClr val="window" lastClr="FFFFFF"/>
      </a:lt1>
      <a:dk2>
        <a:srgbClr val="004673"/>
      </a:dk2>
      <a:lt2>
        <a:srgbClr val="376EB4"/>
      </a:lt2>
      <a:accent1>
        <a:srgbClr val="FF9B3C"/>
      </a:accent1>
      <a:accent2>
        <a:srgbClr val="3D3D3D"/>
      </a:accent2>
      <a:accent3>
        <a:srgbClr val="575757"/>
      </a:accent3>
      <a:accent4>
        <a:srgbClr val="868686"/>
      </a:accent4>
      <a:accent5>
        <a:srgbClr val="D9D9D9"/>
      </a:accent5>
      <a:accent6>
        <a:srgbClr val="F0F0F0"/>
      </a:accent6>
      <a:hlink>
        <a:srgbClr val="376EB4"/>
      </a:hlink>
      <a:folHlink>
        <a:srgbClr val="376EB4"/>
      </a:folHlink>
    </a:clrScheme>
    <a:fontScheme name="Font_geber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 Geberit_16zu9_DE</Template>
  <TotalTime>0</TotalTime>
  <Words>187</Words>
  <Application>Microsoft Office PowerPoint</Application>
  <PresentationFormat>Benutzerdefiniert</PresentationFormat>
  <Paragraphs>41</Paragraphs>
  <Slides>7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[Normal Text]</vt:lpstr>
      <vt:lpstr>Arial</vt:lpstr>
      <vt:lpstr>Calibri</vt:lpstr>
      <vt:lpstr>Symbol</vt:lpstr>
      <vt:lpstr>Wingdings</vt:lpstr>
      <vt:lpstr>master_geberit_16zu9_DE</vt:lpstr>
      <vt:lpstr>think-cell Folie</vt:lpstr>
      <vt:lpstr>Wasser &amp; Technik  Herzliche Willkommen im Namen der 3 Partnerfirmen !</vt:lpstr>
      <vt:lpstr>PowerPoint-Präsentation</vt:lpstr>
      <vt:lpstr>Wasser ist Leben </vt:lpstr>
      <vt:lpstr>Programmablauf </vt:lpstr>
      <vt:lpstr>Organisatorisches</vt:lpstr>
      <vt:lpstr>PowerPoint-Präsentation</vt:lpstr>
      <vt:lpstr>Wir freuen uns über Ihr Interesse und wünschen Ihnen einen interessanten Nachmittag 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rzliche Willkommen</dc:title>
  <dc:creator>Verena Simlinger</dc:creator>
  <cp:lastModifiedBy>Friedrich Singer</cp:lastModifiedBy>
  <cp:revision>157</cp:revision>
  <cp:lastPrinted>2019-03-27T07:53:36Z</cp:lastPrinted>
  <dcterms:created xsi:type="dcterms:W3CDTF">2018-07-12T10:38:16Z</dcterms:created>
  <dcterms:modified xsi:type="dcterms:W3CDTF">2019-04-02T07:3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1239264-6C1B-4AC7-9DA3-65F3EBBC200F</vt:lpwstr>
  </property>
  <property fmtid="{D5CDD505-2E9C-101B-9397-08002B2CF9AE}" pid="3" name="ArticulatePath">
    <vt:lpwstr>master_geberit</vt:lpwstr>
  </property>
  <property fmtid="{D5CDD505-2E9C-101B-9397-08002B2CF9AE}" pid="4" name="MSIP_Label_583d9081-ff0c-403e-9495-6ce7896734ce_Enabled">
    <vt:lpwstr>True</vt:lpwstr>
  </property>
  <property fmtid="{D5CDD505-2E9C-101B-9397-08002B2CF9AE}" pid="5" name="MSIP_Label_583d9081-ff0c-403e-9495-6ce7896734ce_SiteId">
    <vt:lpwstr>49c79685-7e11-437a-bb25-eba58fc041f5</vt:lpwstr>
  </property>
  <property fmtid="{D5CDD505-2E9C-101B-9397-08002B2CF9AE}" pid="6" name="MSIP_Label_583d9081-ff0c-403e-9495-6ce7896734ce_Owner">
    <vt:lpwstr>verena.simlinger@geberit.com</vt:lpwstr>
  </property>
  <property fmtid="{D5CDD505-2E9C-101B-9397-08002B2CF9AE}" pid="7" name="MSIP_Label_583d9081-ff0c-403e-9495-6ce7896734ce_SetDate">
    <vt:lpwstr>2018-07-12T11:38:26.8447384Z</vt:lpwstr>
  </property>
  <property fmtid="{D5CDD505-2E9C-101B-9397-08002B2CF9AE}" pid="8" name="MSIP_Label_583d9081-ff0c-403e-9495-6ce7896734ce_Name">
    <vt:lpwstr>Internal</vt:lpwstr>
  </property>
  <property fmtid="{D5CDD505-2E9C-101B-9397-08002B2CF9AE}" pid="9" name="MSIP_Label_583d9081-ff0c-403e-9495-6ce7896734ce_Application">
    <vt:lpwstr>Microsoft Azure Information Protection</vt:lpwstr>
  </property>
  <property fmtid="{D5CDD505-2E9C-101B-9397-08002B2CF9AE}" pid="10" name="MSIP_Label_583d9081-ff0c-403e-9495-6ce7896734ce_Extended_MSFT_Method">
    <vt:lpwstr>Automatic</vt:lpwstr>
  </property>
  <property fmtid="{D5CDD505-2E9C-101B-9397-08002B2CF9AE}" pid="11" name="Sensitivity">
    <vt:lpwstr>Internal</vt:lpwstr>
  </property>
</Properties>
</file>